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diagrams/colors22.xml" ContentType="application/vnd.openxmlformats-officedocument.drawingml.diagramColors+xml"/>
  <Override PartName="/ppt/diagrams/colors11.xml" ContentType="application/vnd.openxmlformats-officedocument.drawingml.diagramColors+xml"/>
  <Override PartName="/ppt/slideLayouts/slideLayout2.xml" ContentType="application/vnd.openxmlformats-officedocument.presentationml.slideLayout+xml"/>
  <Override PartName="/ppt/diagrams/layout9.xml" ContentType="application/vnd.openxmlformats-officedocument.drawingml.diagramLayout+xml"/>
  <Override PartName="/ppt/diagrams/data13.xml" ContentType="application/vnd.openxmlformats-officedocument.drawingml.diagramData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diagrams/quickStyle17.xml" ContentType="application/vnd.openxmlformats-officedocument.drawingml.diagramStyle+xml"/>
  <Override PartName="/ppt/diagrams/drawing18.xml" ContentType="application/vnd.ms-office.drawingml.diagramDrawing+xml"/>
  <Override PartName="/ppt/notesSlides/notesSlide16.xml" ContentType="application/vnd.openxmlformats-officedocument.presentationml.notes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diagrams/layout17.xml" ContentType="application/vnd.openxmlformats-officedocument.drawingml.diagramLayout+xml"/>
  <Override PartName="/ppt/tags/tag41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notesSlides/notesSlide7.xml" ContentType="application/vnd.openxmlformats-officedocument.presentationml.notesSlide+xml"/>
  <Override PartName="/ppt/diagrams/quickStyle20.xml" ContentType="application/vnd.openxmlformats-officedocument.drawingml.diagramStyle+xml"/>
  <Override PartName="/ppt/diagrams/drawing21.xml" ContentType="application/vnd.ms-office.drawingml.diagramDrawing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diagrams/colors4.xml" ContentType="application/vnd.openxmlformats-officedocument.drawingml.diagramColors+xml"/>
  <Override PartName="/ppt/diagrams/quickStyle7.xml" ContentType="application/vnd.openxmlformats-officedocument.drawingml.diagramStyle+xml"/>
  <Override PartName="/ppt/diagrams/drawing10.xml" ContentType="application/vnd.ms-office.drawingml.diagramDrawing+xml"/>
  <Override PartName="/ppt/diagrams/colors16.xml" ContentType="application/vnd.openxmlformats-officedocument.drawingml.diagramColors+xml"/>
  <Override PartName="/ppt/diagrams/data18.xml" ContentType="application/vnd.openxmlformats-officedocument.drawingml.diagramData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3.xml" ContentType="application/vnd.openxmlformats-officedocument.presentationml.notesSlide+xml"/>
  <Override PartName="/ppt/diagrams/drawing3.xml" ContentType="application/vnd.ms-office.drawingml.diagramDrawing+xml"/>
  <Override PartName="/ppt/diagrams/colors12.xml" ContentType="application/vnd.openxmlformats-officedocument.drawingml.diagramColors+xml"/>
  <Override PartName="/ppt/diagrams/layout20.xml" ContentType="application/vnd.openxmlformats-officedocument.drawingml.diagramLayout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diagrams/data14.xml" ContentType="application/vnd.openxmlformats-officedocument.drawingml.diagramData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diagrams/drawing19.xml" ContentType="application/vnd.ms-office.drawingml.diagramDrawing+xml"/>
  <Override PartName="/ppt/diagrams/data21.xml" ContentType="application/vnd.openxmlformats-officedocument.drawingml.diagramData+xml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diagrams/layout6.xml" ContentType="application/vnd.openxmlformats-officedocument.drawingml.diagramLayout+xml"/>
  <Override PartName="/ppt/diagrams/data10.xml" ContentType="application/vnd.openxmlformats-officedocument.drawingml.diagramData+xml"/>
  <Override PartName="/ppt/diagrams/quickStyle18.xml" ContentType="application/vnd.openxmlformats-officedocument.drawingml.diagramStyl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diagrams/data7.xml" ContentType="application/vnd.openxmlformats-officedocument.drawingml.diagramData+xml"/>
  <Override PartName="/ppt/diagrams/colors9.xml" ContentType="application/vnd.openxmlformats-officedocument.drawingml.diagramColors+xml"/>
  <Override PartName="/ppt/diagrams/quickStyle14.xml" ContentType="application/vnd.openxmlformats-officedocument.drawingml.diagramStyle+xml"/>
  <Override PartName="/ppt/diagrams/drawing15.xml" ContentType="application/vnd.ms-office.drawingml.diagramDrawing+xml"/>
  <Override PartName="/ppt/notesSlides/notesSlide13.xml" ContentType="application/vnd.openxmlformats-officedocument.presentationml.notesSlide+xml"/>
  <Override PartName="/ppt/diagrams/layout18.xml" ContentType="application/vnd.openxmlformats-officedocument.drawingml.diagram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diagrams/layout2.xml" ContentType="application/vnd.openxmlformats-officedocument.drawingml.diagramLayout+xml"/>
  <Override PartName="/ppt/diagrams/drawing8.xml" ContentType="application/vnd.ms-office.drawingml.diagramDrawing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quickStyle8.xml" ContentType="application/vnd.openxmlformats-officedocument.drawingml.diagramStyle+xml"/>
  <Override PartName="/ppt/diagrams/quickStyle10.xml" ContentType="application/vnd.openxmlformats-officedocument.drawingml.diagramStyle+xml"/>
  <Override PartName="/ppt/diagrams/drawing11.xml" ContentType="application/vnd.ms-office.drawingml.diagramDrawing+xml"/>
  <Override PartName="/ppt/diagrams/layout14.xml" ContentType="application/vnd.openxmlformats-officedocument.drawingml.diagramLayout+xml"/>
  <Override PartName="/ppt/diagrams/colors17.xml" ContentType="application/vnd.openxmlformats-officedocument.drawingml.diagramColors+xml"/>
  <Override PartName="/ppt/diagrams/quickStyle21.xml" ContentType="application/vnd.openxmlformats-officedocument.drawingml.diagramStyle+xml"/>
  <Override PartName="/ppt/diagrams/drawing22.xml" ContentType="application/vnd.ms-office.drawingml.diagramDrawing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diagrams/drawing4.xml" ContentType="application/vnd.ms-office.drawingml.diagramDrawing+xml"/>
  <Override PartName="/ppt/diagrams/data19.xml" ContentType="application/vnd.openxmlformats-officedocument.drawingml.diagramData+xml"/>
  <Override PartName="/ppt/diagrams/layout21.xml" ContentType="application/vnd.openxmlformats-officedocument.drawingml.diagramLayou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diagrams/layout10.xml" ContentType="application/vnd.openxmlformats-officedocument.drawingml.diagramLayout+xml"/>
  <Override PartName="/ppt/diagrams/colors13.xml" ContentType="application/vnd.openxmlformats-officedocument.drawingml.diagramColor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diagrams/data15.xml" ContentType="application/vnd.openxmlformats-officedocument.drawingml.diagramData+xml"/>
  <Override PartName="/ppt/diagrams/colors20.xml" ContentType="application/vnd.openxmlformats-officedocument.drawingml.diagramColor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diagrams/data11.xml" ContentType="application/vnd.openxmlformats-officedocument.drawingml.diagramData+xml"/>
  <Override PartName="/ppt/diagrams/quickStyle19.xml" ContentType="application/vnd.openxmlformats-officedocument.drawingml.diagramStyle+xml"/>
  <Override PartName="/ppt/diagrams/data22.xml" ContentType="application/vnd.openxmlformats-officedocument.drawingml.diagramData+xml"/>
  <Default Extension="rels" ContentType="application/vnd.openxmlformats-package.relationships+xml"/>
  <Override PartName="/ppt/tags/tag29.xml" ContentType="application/vnd.openxmlformats-officedocument.presentationml.tags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diagrams/quickStyle15.xml" ContentType="application/vnd.openxmlformats-officedocument.drawingml.diagramStyle+xml"/>
  <Override PartName="/ppt/diagrams/drawing16.xml" ContentType="application/vnd.ms-office.drawingml.diagramDrawing+xml"/>
  <Override PartName="/ppt/notesSlides/notesSlide14.xml" ContentType="application/vnd.openxmlformats-officedocument.presentationml.notesSlide+xml"/>
  <Override PartName="/ppt/diagrams/layout19.xml" ContentType="application/vnd.openxmlformats-officedocument.drawingml.diagramLayout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drawing9.xml" ContentType="application/vnd.ms-office.drawingml.diagramDrawing+xml"/>
  <Override PartName="/ppt/notesSlides/notesSlide9.xml" ContentType="application/vnd.openxmlformats-officedocument.presentationml.notesSlide+xml"/>
  <Override PartName="/ppt/diagrams/layout15.xml" ContentType="application/vnd.openxmlformats-officedocument.drawingml.diagramLayout+xml"/>
  <Override PartName="/ppt/diagrams/quickStyle22.xml" ContentType="application/vnd.openxmlformats-officedocument.drawingml.diagramStyle+xml"/>
  <Override PartName="/ppt/tags/tag32.xml" ContentType="application/vnd.openxmlformats-officedocument.presentationml.tags+xml"/>
  <Override PartName="/ppt/diagrams/colors6.xml" ContentType="application/vnd.openxmlformats-officedocument.drawingml.diagramColors+xml"/>
  <Override PartName="/ppt/diagrams/quickStyle9.xml" ContentType="application/vnd.openxmlformats-officedocument.drawingml.diagramStyle+xml"/>
  <Override PartName="/ppt/diagrams/quickStyle11.xml" ContentType="application/vnd.openxmlformats-officedocument.drawingml.diagramStyle+xml"/>
  <Override PartName="/ppt/diagrams/drawing12.xml" ContentType="application/vnd.ms-office.drawingml.diagramDrawing+xml"/>
  <Override PartName="/ppt/notesSlides/notesSlide10.xml" ContentType="application/vnd.openxmlformats-officedocument.presentationml.notesSlide+xml"/>
  <Override PartName="/ppt/diagrams/colors18.xml" ContentType="application/vnd.openxmlformats-officedocument.drawingml.diagramColor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diagrams/drawing5.xml" ContentType="application/vnd.ms-office.drawingml.diagramDrawing+xml"/>
  <Override PartName="/ppt/diagrams/layout11.xml" ContentType="application/vnd.openxmlformats-officedocument.drawingml.diagramLayout+xml"/>
  <Override PartName="/ppt/diagrams/colors14.xml" ContentType="application/vnd.openxmlformats-officedocument.drawingml.diagramColors+xml"/>
  <Override PartName="/ppt/diagrams/layout22.xml" ContentType="application/vnd.openxmlformats-officedocument.drawingml.diagramLayout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diagrams/data16.xml" ContentType="application/vnd.openxmlformats-officedocument.drawingml.diagramData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diagrams/drawing1.xml" ContentType="application/vnd.ms-office.drawingml.diagramDrawing+xml"/>
  <Override PartName="/ppt/diagrams/colors10.xml" ContentType="application/vnd.openxmlformats-officedocument.drawingml.diagramColors+xml"/>
  <Override PartName="/ppt/diagrams/colors21.xml" ContentType="application/vnd.openxmlformats-officedocument.drawingml.diagramColors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  <Override PartName="/ppt/diagrams/layout8.xml" ContentType="application/vnd.openxmlformats-officedocument.drawingml.diagramLayout+xml"/>
  <Override PartName="/ppt/diagrams/data12.xml" ContentType="application/vnd.openxmlformats-officedocument.drawingml.diagramData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diagrams/data9.xml" ContentType="application/vnd.openxmlformats-officedocument.drawingml.diagramData+xml"/>
  <Override PartName="/ppt/diagrams/quickStyle16.xml" ContentType="application/vnd.openxmlformats-officedocument.drawingml.diagramStyle+xml"/>
  <Override PartName="/ppt/diagrams/drawing17.xml" ContentType="application/vnd.ms-office.drawingml.diagramDrawing+xml"/>
  <Override PartName="/ppt/notesSlides/notesSlide15.xml" ContentType="application/vnd.openxmlformats-officedocument.presentationml.notes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diagrams/layout4.xml" ContentType="application/vnd.openxmlformats-officedocument.drawingml.diagramLayout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diagrams/quickStyle12.xml" ContentType="application/vnd.openxmlformats-officedocument.drawingml.diagramStyle+xml"/>
  <Override PartName="/ppt/notesSlides/notesSlide11.xml" ContentType="application/vnd.openxmlformats-officedocument.presentationml.notesSlide+xml"/>
  <Override PartName="/ppt/diagrams/drawing13.xml" ContentType="application/vnd.ms-office.drawingml.diagramDrawing+xml"/>
  <Override PartName="/ppt/diagrams/layout16.xml" ContentType="application/vnd.openxmlformats-officedocument.drawingml.diagramLayout+xml"/>
  <Override PartName="/ppt/diagrams/colors19.xml" ContentType="application/vnd.openxmlformats-officedocument.drawingml.diagramColor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diagrams/drawing6.xml" ContentType="application/vnd.ms-office.drawingml.diagramDrawing+xml"/>
  <Override PartName="/ppt/notesSlides/notesSlide6.xml" ContentType="application/vnd.openxmlformats-officedocument.presentationml.notesSlide+xml"/>
  <Override PartName="/ppt/diagrams/drawing20.xml" ContentType="application/vnd.ms-office.drawingml.diagramDrawing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quickStyle6.xml" ContentType="application/vnd.openxmlformats-officedocument.drawingml.diagramStyle+xml"/>
  <Override PartName="/ppt/diagrams/layout12.xml" ContentType="application/vnd.openxmlformats-officedocument.drawingml.diagramLayout+xml"/>
  <Override PartName="/ppt/diagrams/colors15.xml" ContentType="application/vnd.openxmlformats-officedocument.drawingml.diagramColors+xml"/>
  <Override PartName="/ppt/diagrams/drawing2.xml" ContentType="application/vnd.ms-office.drawingml.diagramDrawing+xml"/>
  <Override PartName="/ppt/diagrams/data17.xml" ContentType="application/vnd.openxmlformats-officedocument.drawingml.diagramData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theme/theme1.xml" ContentType="application/vnd.openxmlformats-officedocument.theme+xml"/>
  <Override PartName="/ppt/diagrams/data20.xml" ContentType="application/vnd.openxmlformats-officedocument.drawingml.diagramData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diagrams/colors8.xml" ContentType="application/vnd.openxmlformats-officedocument.drawingml.diagramColors+xml"/>
  <Override PartName="/ppt/diagrams/quickStyle13.xml" ContentType="application/vnd.openxmlformats-officedocument.drawingml.diagramStyle+xml"/>
  <Override PartName="/ppt/diagrams/drawing14.xml" ContentType="application/vnd.ms-office.drawingml.diagramDrawing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diagrams/drawing7.xml" ContentType="application/vnd.ms-office.drawingml.diagramDrawing+xml"/>
  <Override PartName="/ppt/diagrams/layout13.xml" ContentType="application/vnd.openxmlformats-officedocument.drawingml.diagram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8" r:id="rId1"/>
  </p:sldMasterIdLst>
  <p:notesMasterIdLst>
    <p:notesMasterId r:id="rId23"/>
  </p:notesMasterIdLst>
  <p:handoutMasterIdLst>
    <p:handoutMasterId r:id="rId24"/>
  </p:handoutMasterIdLst>
  <p:sldIdLst>
    <p:sldId id="345" r:id="rId2"/>
    <p:sldId id="346" r:id="rId3"/>
    <p:sldId id="347" r:id="rId4"/>
    <p:sldId id="348" r:id="rId5"/>
    <p:sldId id="349" r:id="rId6"/>
    <p:sldId id="350" r:id="rId7"/>
    <p:sldId id="351" r:id="rId8"/>
    <p:sldId id="352" r:id="rId9"/>
    <p:sldId id="316" r:id="rId10"/>
    <p:sldId id="353" r:id="rId11"/>
    <p:sldId id="360" r:id="rId12"/>
    <p:sldId id="361" r:id="rId13"/>
    <p:sldId id="362" r:id="rId14"/>
    <p:sldId id="363" r:id="rId15"/>
    <p:sldId id="337" r:id="rId16"/>
    <p:sldId id="318" r:id="rId17"/>
    <p:sldId id="317" r:id="rId18"/>
    <p:sldId id="292" r:id="rId19"/>
    <p:sldId id="284" r:id="rId20"/>
    <p:sldId id="359" r:id="rId21"/>
    <p:sldId id="364" r:id="rId22"/>
  </p:sldIdLst>
  <p:sldSz cx="9144000" cy="6858000" type="screen4x3"/>
  <p:notesSz cx="7099300" cy="10234613"/>
  <p:custDataLst>
    <p:tags r:id="rId25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E20074"/>
    <a:srgbClr val="6CAFDC"/>
    <a:srgbClr val="4FAC36"/>
    <a:srgbClr val="FF118E"/>
    <a:srgbClr val="666666"/>
    <a:srgbClr val="368F9A"/>
    <a:srgbClr val="427BAB"/>
    <a:srgbClr val="64B9E4"/>
    <a:srgbClr val="9F4C97"/>
    <a:srgbClr val="EDA95A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8A107856-5554-42FB-B03E-39F5DBC370BA}" styleName="Mittlere Formatvorlage 4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6341" autoAdjust="0"/>
  </p:normalViewPr>
  <p:slideViewPr>
    <p:cSldViewPr snapToGrid="0" showGuides="1">
      <p:cViewPr>
        <p:scale>
          <a:sx n="120" d="100"/>
          <a:sy n="120" d="100"/>
        </p:scale>
        <p:origin x="-738" y="-192"/>
      </p:cViewPr>
      <p:guideLst>
        <p:guide orient="horz" pos="211"/>
        <p:guide orient="horz" pos="711"/>
        <p:guide orient="horz" pos="1117"/>
        <p:guide orient="horz" pos="829"/>
        <p:guide orient="horz" pos="3635"/>
        <p:guide orient="horz" pos="3815"/>
        <p:guide orient="horz" pos="4124"/>
        <p:guide orient="horz" pos="3999"/>
        <p:guide pos="2922"/>
        <p:guide pos="201"/>
        <p:guide pos="5556"/>
        <p:guide pos="2838"/>
        <p:guide pos="1560"/>
        <p:guide pos="1470"/>
        <p:guide pos="4197"/>
        <p:guide pos="42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95" d="100"/>
          <a:sy n="95" d="100"/>
        </p:scale>
        <p:origin x="-5412" y="-96"/>
      </p:cViewPr>
      <p:guideLst>
        <p:guide orient="horz" pos="3224"/>
        <p:guide pos="309"/>
        <p:guide pos="4163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iagrams/_rels/data20.xml.rels><?xml version="1.0" encoding="UTF-8" standalone="yes"?>
<Relationships xmlns="http://schemas.openxmlformats.org/package/2006/relationships"><Relationship Id="rId8" Type="http://schemas.openxmlformats.org/officeDocument/2006/relationships/hyperlink" Target="http://cloud-computing-blog.eu/was-ist-jetzt-eigentlich-cloud-computing/" TargetMode="External"/><Relationship Id="rId13" Type="http://schemas.openxmlformats.org/officeDocument/2006/relationships/hyperlink" Target="https://de.pinterest.com/pin/556053885218068326/" TargetMode="External"/><Relationship Id="rId3" Type="http://schemas.openxmlformats.org/officeDocument/2006/relationships/hyperlink" Target="http://www.all-stars.de/blog/wp-content/uploads/2014/04/planung.jpg" TargetMode="External"/><Relationship Id="rId7" Type="http://schemas.openxmlformats.org/officeDocument/2006/relationships/hyperlink" Target="https://www.openstack.org/brand/openstack-logo/logo-download/" TargetMode="External"/><Relationship Id="rId12" Type="http://schemas.openxmlformats.org/officeDocument/2006/relationships/hyperlink" Target="https://www.brand-design.telekom.com/icon-library/" TargetMode="External"/><Relationship Id="rId2" Type="http://schemas.openxmlformats.org/officeDocument/2006/relationships/hyperlink" Target="http://www.ofekcloud.com/media/images/1e7b5ca3-8b2e-4e2e-9898-5df978f0218aimage14.jpeg" TargetMode="External"/><Relationship Id="rId1" Type="http://schemas.openxmlformats.org/officeDocument/2006/relationships/hyperlink" Target="https://dzone.com/refcardz?filter=popular" TargetMode="External"/><Relationship Id="rId6" Type="http://schemas.openxmlformats.org/officeDocument/2006/relationships/hyperlink" Target="http://www.embritas.lt/project/duomenu-apdorojimo-centras/?lang=de" TargetMode="External"/><Relationship Id="rId11" Type="http://schemas.openxmlformats.org/officeDocument/2006/relationships/hyperlink" Target="https://gitlab.com/uploads/project/avatar/13083/gitlab-logo-square.png" TargetMode="External"/><Relationship Id="rId5" Type="http://schemas.openxmlformats.org/officeDocument/2006/relationships/hyperlink" Target="http://yourdost.com/blog/2016/02/how-to-become-more-creative.html" TargetMode="External"/><Relationship Id="rId10" Type="http://schemas.openxmlformats.org/officeDocument/2006/relationships/hyperlink" Target="https://d30y9cdsu7xlg0.cloudfront.net/png/27703-200.png" TargetMode="External"/><Relationship Id="rId4" Type="http://schemas.openxmlformats.org/officeDocument/2006/relationships/hyperlink" Target="http://www.maclife.de/ratgeber/microsoft-office-ios-jetzt-icloud-unterstuetzung-10062588.html" TargetMode="External"/><Relationship Id="rId9" Type="http://schemas.openxmlformats.org/officeDocument/2006/relationships/hyperlink" Target="https://gitlab.com/uploads/project/avatar/250833/runner_logo.png" TargetMode="External"/><Relationship Id="rId14" Type="http://schemas.openxmlformats.org/officeDocument/2006/relationships/hyperlink" Target="https://www.openstack.org/" TargetMode="External"/></Relationships>
</file>

<file path=ppt/diagrams/_rels/data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hyperlink" Target="mailto:oliver.klippel@telekom.de" TargetMode="External"/><Relationship Id="rId7" Type="http://schemas.openxmlformats.org/officeDocument/2006/relationships/image" Target="../media/image20.jpeg"/><Relationship Id="rId2" Type="http://schemas.openxmlformats.org/officeDocument/2006/relationships/hyperlink" Target="mailto:adriano.perri@telekom.de" TargetMode="External"/><Relationship Id="rId1" Type="http://schemas.openxmlformats.org/officeDocument/2006/relationships/hyperlink" Target="mailto:janika-schaefer@telekom.de" TargetMode="External"/><Relationship Id="rId6" Type="http://schemas.openxmlformats.org/officeDocument/2006/relationships/image" Target="../media/image18.jpeg"/><Relationship Id="rId5" Type="http://schemas.openxmlformats.org/officeDocument/2006/relationships/image" Target="../media/image19.jpeg"/><Relationship Id="rId4" Type="http://schemas.openxmlformats.org/officeDocument/2006/relationships/hyperlink" Target="mailto:frank.kloeker@telekom.de" TargetMode="External"/></Relationships>
</file>

<file path=ppt/diagrams/_rels/drawing20.xml.rels><?xml version="1.0" encoding="UTF-8" standalone="yes"?>
<Relationships xmlns="http://schemas.openxmlformats.org/package/2006/relationships"><Relationship Id="rId8" Type="http://schemas.openxmlformats.org/officeDocument/2006/relationships/hyperlink" Target="http://www.embritas.lt/project/duomenu-apdorojimo-centras/?lang=de" TargetMode="External"/><Relationship Id="rId13" Type="http://schemas.openxmlformats.org/officeDocument/2006/relationships/hyperlink" Target="https://www.brand-design.telekom.com/icon-library/" TargetMode="External"/><Relationship Id="rId3" Type="http://schemas.openxmlformats.org/officeDocument/2006/relationships/hyperlink" Target="http://cloud-computing-blog.eu/was-ist-jetzt-eigentlich-cloud-computing/" TargetMode="External"/><Relationship Id="rId7" Type="http://schemas.openxmlformats.org/officeDocument/2006/relationships/hyperlink" Target="http://yourdost.com/blog/2016/02/how-to-become-more-creative.html" TargetMode="External"/><Relationship Id="rId12" Type="http://schemas.openxmlformats.org/officeDocument/2006/relationships/hyperlink" Target="https://gitlab.com/uploads/project/avatar/13083/gitlab-logo-square.png" TargetMode="External"/><Relationship Id="rId2" Type="http://schemas.openxmlformats.org/officeDocument/2006/relationships/hyperlink" Target="https://dzone.com/refcardz?filter=popular" TargetMode="External"/><Relationship Id="rId1" Type="http://schemas.openxmlformats.org/officeDocument/2006/relationships/hyperlink" Target="https://www.openstack.org/" TargetMode="External"/><Relationship Id="rId6" Type="http://schemas.openxmlformats.org/officeDocument/2006/relationships/hyperlink" Target="http://www.maclife.de/ratgeber/microsoft-office-ios-jetzt-icloud-unterstuetzung-10062588.html" TargetMode="External"/><Relationship Id="rId11" Type="http://schemas.openxmlformats.org/officeDocument/2006/relationships/hyperlink" Target="https://d30y9cdsu7xlg0.cloudfront.net/png/27703-200.png" TargetMode="External"/><Relationship Id="rId5" Type="http://schemas.openxmlformats.org/officeDocument/2006/relationships/hyperlink" Target="http://www.all-stars.de/blog/wp-content/uploads/2014/04/planung.jpg" TargetMode="External"/><Relationship Id="rId10" Type="http://schemas.openxmlformats.org/officeDocument/2006/relationships/hyperlink" Target="https://gitlab.com/uploads/project/avatar/250833/runner_logo.png" TargetMode="External"/><Relationship Id="rId4" Type="http://schemas.openxmlformats.org/officeDocument/2006/relationships/hyperlink" Target="http://www.ofekcloud.com/media/images/1e7b5ca3-8b2e-4e2e-9898-5df978f0218aimage14.jpeg" TargetMode="External"/><Relationship Id="rId9" Type="http://schemas.openxmlformats.org/officeDocument/2006/relationships/hyperlink" Target="https://www.openstack.org/brand/openstack-logo/logo-download/" TargetMode="External"/><Relationship Id="rId14" Type="http://schemas.openxmlformats.org/officeDocument/2006/relationships/hyperlink" Target="https://de.pinterest.com/pin/556053885218068326/" TargetMode="External"/></Relationships>
</file>

<file path=ppt/diagrams/_rels/drawing22.xml.rels><?xml version="1.0" encoding="UTF-8" standalone="yes"?>
<Relationships xmlns="http://schemas.openxmlformats.org/package/2006/relationships"><Relationship Id="rId8" Type="http://schemas.openxmlformats.org/officeDocument/2006/relationships/hyperlink" Target="mailto:frank.kloeker@telekom.de" TargetMode="External"/><Relationship Id="rId3" Type="http://schemas.openxmlformats.org/officeDocument/2006/relationships/image" Target="../media/image18.jpeg"/><Relationship Id="rId7" Type="http://schemas.openxmlformats.org/officeDocument/2006/relationships/image" Target="../media/image17.jpeg"/><Relationship Id="rId2" Type="http://schemas.openxmlformats.org/officeDocument/2006/relationships/hyperlink" Target="mailto:janika-schaefer@telekom.de" TargetMode="External"/><Relationship Id="rId1" Type="http://schemas.openxmlformats.org/officeDocument/2006/relationships/image" Target="../media/image19.jpeg"/><Relationship Id="rId6" Type="http://schemas.openxmlformats.org/officeDocument/2006/relationships/hyperlink" Target="mailto:adriano.perri@telekom.de" TargetMode="External"/><Relationship Id="rId5" Type="http://schemas.openxmlformats.org/officeDocument/2006/relationships/image" Target="../media/image20.jpeg"/><Relationship Id="rId4" Type="http://schemas.openxmlformats.org/officeDocument/2006/relationships/hyperlink" Target="mailto:oliver.klippel@telekom.de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3EC275A3-81FF-4A2F-99FA-22AC538725D3}" type="presOf" srcId="{9C869D94-BD20-4CF6-9CAA-58E706B950F6}" destId="{0AECE453-CE2A-473C-BD27-70D00DA5B95C}" srcOrd="0" destOrd="0" presId="urn:microsoft.com/office/officeart/2005/8/layout/chevron1"/>
    <dgm:cxn modelId="{544A7F19-F5F4-4ACB-B7AF-8F0284A12D40}" type="presOf" srcId="{D14807FD-294C-4482-91EE-34C09B13669A}" destId="{BCE275B7-D1E9-4183-BABE-507E54E1C931}" srcOrd="0" destOrd="0" presId="urn:microsoft.com/office/officeart/2005/8/layout/chevron1"/>
    <dgm:cxn modelId="{6CDB8638-FCD3-44C1-8666-6643606E9837}" type="presOf" srcId="{D0C25FB2-BCD9-40F2-AD7D-9958175F77A4}" destId="{3E9602A8-0A34-4630-A972-81E39BB9FA5D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401F332A-38D9-4A9A-8D67-6C5F1660AB17}" type="presOf" srcId="{F351D095-D2C1-4F62-A18D-EFB4BA6E2AA9}" destId="{6BF66C9A-92D4-481D-A538-FD1A4E3DC0D5}" srcOrd="0" destOrd="0" presId="urn:microsoft.com/office/officeart/2005/8/layout/chevron1"/>
    <dgm:cxn modelId="{6DF6F60C-3889-4A2B-B70D-FC56118C9BA8}" type="presOf" srcId="{EB61DA86-9B86-4759-822E-DA32F7AA073E}" destId="{135DB1F4-89C2-4733-9521-42FD5CECF10C}" srcOrd="0" destOrd="0" presId="urn:microsoft.com/office/officeart/2005/8/layout/chevron1"/>
    <dgm:cxn modelId="{4B8E27C8-D02D-4EE1-A312-F7727407AB4E}" type="presParOf" srcId="{0AECE453-CE2A-473C-BD27-70D00DA5B95C}" destId="{135DB1F4-89C2-4733-9521-42FD5CECF10C}" srcOrd="0" destOrd="0" presId="urn:microsoft.com/office/officeart/2005/8/layout/chevron1"/>
    <dgm:cxn modelId="{A9BA622C-DD77-4857-BF71-75DF97E5E74E}" type="presParOf" srcId="{0AECE453-CE2A-473C-BD27-70D00DA5B95C}" destId="{E1C76734-9ABE-473C-AD4C-C4BF49F91E97}" srcOrd="1" destOrd="0" presId="urn:microsoft.com/office/officeart/2005/8/layout/chevron1"/>
    <dgm:cxn modelId="{65223ADE-A94D-4A29-A8C6-6400897231E8}" type="presParOf" srcId="{0AECE453-CE2A-473C-BD27-70D00DA5B95C}" destId="{6BF66C9A-92D4-481D-A538-FD1A4E3DC0D5}" srcOrd="2" destOrd="0" presId="urn:microsoft.com/office/officeart/2005/8/layout/chevron1"/>
    <dgm:cxn modelId="{5AAC8E1D-6404-40BE-B4D1-EED4651E0BAA}" type="presParOf" srcId="{0AECE453-CE2A-473C-BD27-70D00DA5B95C}" destId="{691CB221-7DD5-49BE-AC21-301798066F30}" srcOrd="3" destOrd="0" presId="urn:microsoft.com/office/officeart/2005/8/layout/chevron1"/>
    <dgm:cxn modelId="{29740606-4299-445F-AEE4-C4C91B0E49A0}" type="presParOf" srcId="{0AECE453-CE2A-473C-BD27-70D00DA5B95C}" destId="{3E9602A8-0A34-4630-A972-81E39BB9FA5D}" srcOrd="4" destOrd="0" presId="urn:microsoft.com/office/officeart/2005/8/layout/chevron1"/>
    <dgm:cxn modelId="{E05EF045-4C87-4FC7-855D-D5383161B772}" type="presParOf" srcId="{0AECE453-CE2A-473C-BD27-70D00DA5B95C}" destId="{D0B9A118-173B-40DB-89B8-9F21FF5432C9}" srcOrd="5" destOrd="0" presId="urn:microsoft.com/office/officeart/2005/8/layout/chevron1"/>
    <dgm:cxn modelId="{982AE4F1-4F26-494F-B758-B93DECBB884E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5D7B8CE8-D651-4939-90C1-2E8FF46A29FC}" type="doc">
      <dgm:prSet loTypeId="urn:microsoft.com/office/officeart/2005/8/layout/bProcess3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99B2C1A9-9A62-4ACA-8BA8-0A30C93EB5E2}">
      <dgm:prSet phldrT="[Text]"/>
      <dgm:spPr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Get An Overview</a:t>
          </a:r>
          <a:endParaRPr lang="de-DE" dirty="0">
            <a:solidFill>
              <a:schemeClr val="bg1"/>
            </a:solidFill>
          </a:endParaRPr>
        </a:p>
      </dgm:t>
    </dgm:pt>
    <dgm:pt modelId="{20338AD1-FB36-4402-8FD1-32131343AA55}" type="parTrans" cxnId="{F46C5EC7-E278-421D-A6DD-8D1CF98451BF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98703F00-0C5F-4657-827D-B04E440E614E}" type="sibTrans" cxnId="{F46C5EC7-E278-421D-A6DD-8D1CF98451BF}">
      <dgm:prSet/>
      <dgm:spPr/>
      <dgm:t>
        <a:bodyPr/>
        <a:lstStyle/>
        <a:p>
          <a:endParaRPr lang="de-DE" dirty="0">
            <a:solidFill>
              <a:schemeClr val="bg1"/>
            </a:solidFill>
          </a:endParaRPr>
        </a:p>
      </dgm:t>
    </dgm:pt>
    <dgm:pt modelId="{82452DCF-232A-407F-8B9F-239A96594E98}">
      <dgm:prSet phldrT="[Text]"/>
      <dgm:spPr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DevStack As Testplatform</a:t>
          </a:r>
          <a:endParaRPr lang="de-DE" dirty="0">
            <a:solidFill>
              <a:schemeClr val="bg1"/>
            </a:solidFill>
          </a:endParaRPr>
        </a:p>
      </dgm:t>
    </dgm:pt>
    <dgm:pt modelId="{3327FCB9-0A64-49F4-AE68-029FBA41782A}" type="parTrans" cxnId="{DF09EE25-DE79-4D75-B037-783985A4C945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48B75D59-56C7-4372-8AE4-F1D79B6A0B3F}" type="sibTrans" cxnId="{DF09EE25-DE79-4D75-B037-783985A4C945}">
      <dgm:prSet/>
      <dgm:spPr/>
      <dgm:t>
        <a:bodyPr/>
        <a:lstStyle/>
        <a:p>
          <a:endParaRPr lang="de-DE" dirty="0">
            <a:solidFill>
              <a:schemeClr val="bg1"/>
            </a:solidFill>
          </a:endParaRPr>
        </a:p>
      </dgm:t>
    </dgm:pt>
    <dgm:pt modelId="{38DB7276-0691-424A-BAAA-3B31662FB8AA}">
      <dgm:prSet phldrT="[Text]"/>
      <dgm:spPr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Setting Up DevStack</a:t>
          </a:r>
          <a:endParaRPr lang="de-DE" dirty="0">
            <a:solidFill>
              <a:schemeClr val="bg1"/>
            </a:solidFill>
          </a:endParaRPr>
        </a:p>
      </dgm:t>
    </dgm:pt>
    <dgm:pt modelId="{5D64C091-2BF9-4ABD-BC2A-DED216961915}" type="parTrans" cxnId="{7A9A4550-A379-419E-BB50-86347D575C42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85B87230-C043-4C1D-87CD-908000B65C2E}" type="sibTrans" cxnId="{7A9A4550-A379-419E-BB50-86347D575C42}">
      <dgm:prSet/>
      <dgm:spPr/>
      <dgm:t>
        <a:bodyPr/>
        <a:lstStyle/>
        <a:p>
          <a:endParaRPr lang="de-DE" dirty="0">
            <a:solidFill>
              <a:schemeClr val="bg1"/>
            </a:solidFill>
          </a:endParaRPr>
        </a:p>
      </dgm:t>
    </dgm:pt>
    <dgm:pt modelId="{57BA47CA-D1C6-46EF-B73F-4C057557D661}">
      <dgm:prSet phldrT="[Text]"/>
      <dgm:spPr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Install Wordpress</a:t>
          </a:r>
          <a:endParaRPr lang="de-DE" dirty="0">
            <a:solidFill>
              <a:schemeClr val="bg1"/>
            </a:solidFill>
          </a:endParaRPr>
        </a:p>
      </dgm:t>
    </dgm:pt>
    <dgm:pt modelId="{93977255-256D-4CBF-AC4F-0761701A5662}" type="parTrans" cxnId="{7D58A934-4F82-4F63-9503-E802172E642A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4C0237E0-A862-4EA6-A085-93C725E0CF75}" type="sibTrans" cxnId="{7D58A934-4F82-4F63-9503-E802172E642A}">
      <dgm:prSet/>
      <dgm:spPr/>
      <dgm:t>
        <a:bodyPr/>
        <a:lstStyle/>
        <a:p>
          <a:endParaRPr lang="de-DE" dirty="0">
            <a:solidFill>
              <a:schemeClr val="bg1"/>
            </a:solidFill>
          </a:endParaRPr>
        </a:p>
      </dgm:t>
    </dgm:pt>
    <dgm:pt modelId="{6E93FA4F-B399-4CE1-B9FC-78319FABED40}">
      <dgm:prSet phldrT="[Text]"/>
      <dgm:spPr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Create Tenant</a:t>
          </a:r>
        </a:p>
      </dgm:t>
    </dgm:pt>
    <dgm:pt modelId="{014618B8-8363-4B67-BC0F-373820071FE1}" type="parTrans" cxnId="{23F080CA-5D01-4D23-85A5-E608894D7BE5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5E3E4725-5959-479C-AD77-5722B872AFE4}" type="sibTrans" cxnId="{23F080CA-5D01-4D23-85A5-E608894D7BE5}">
      <dgm:prSet/>
      <dgm:spPr/>
      <dgm:t>
        <a:bodyPr/>
        <a:lstStyle/>
        <a:p>
          <a:endParaRPr lang="de-DE" dirty="0">
            <a:solidFill>
              <a:schemeClr val="bg1"/>
            </a:solidFill>
          </a:endParaRPr>
        </a:p>
      </dgm:t>
    </dgm:pt>
    <dgm:pt modelId="{04F6032E-481B-47A2-8548-5BFEFDA0276D}">
      <dgm:prSet phldrT="[Text]"/>
      <dgm:spPr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Automatic Rollout</a:t>
          </a:r>
          <a:endParaRPr lang="de-DE" dirty="0">
            <a:solidFill>
              <a:schemeClr val="bg1"/>
            </a:solidFill>
          </a:endParaRPr>
        </a:p>
      </dgm:t>
    </dgm:pt>
    <dgm:pt modelId="{EE0ABFA3-1100-42EC-BCFD-5F24C665077B}" type="parTrans" cxnId="{969D98B4-666B-475D-9CA4-FE90AFCDD65E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AD163FCE-4007-4CE4-9036-CD114F07627E}" type="sibTrans" cxnId="{969D98B4-666B-475D-9CA4-FE90AFCDD65E}">
      <dgm:prSet/>
      <dgm:spPr/>
      <dgm:t>
        <a:bodyPr/>
        <a:lstStyle/>
        <a:p>
          <a:endParaRPr lang="de-DE" dirty="0">
            <a:solidFill>
              <a:schemeClr val="bg1"/>
            </a:solidFill>
          </a:endParaRPr>
        </a:p>
      </dgm:t>
    </dgm:pt>
    <dgm:pt modelId="{3A7D8C84-6AE4-4000-A7D8-3A3A3328A649}" type="pres">
      <dgm:prSet presAssocID="{5D7B8CE8-D651-4939-90C1-2E8FF46A29F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6031514D-EA9E-4EF4-85F7-3C6A74196969}" type="pres">
      <dgm:prSet presAssocID="{99B2C1A9-9A62-4ACA-8BA8-0A30C93EB5E2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45E31C6-6850-4FDD-BAB0-50E35C94C46E}" type="pres">
      <dgm:prSet presAssocID="{98703F00-0C5F-4657-827D-B04E440E614E}" presName="sibTrans" presStyleLbl="sibTrans1D1" presStyleIdx="0" presStyleCnt="5"/>
      <dgm:spPr/>
      <dgm:t>
        <a:bodyPr/>
        <a:lstStyle/>
        <a:p>
          <a:endParaRPr lang="de-DE"/>
        </a:p>
      </dgm:t>
    </dgm:pt>
    <dgm:pt modelId="{D3BE1247-62A4-4F1C-862D-E895F32DFB83}" type="pres">
      <dgm:prSet presAssocID="{98703F00-0C5F-4657-827D-B04E440E614E}" presName="connectorText" presStyleLbl="sibTrans1D1" presStyleIdx="0" presStyleCnt="5"/>
      <dgm:spPr/>
      <dgm:t>
        <a:bodyPr/>
        <a:lstStyle/>
        <a:p>
          <a:endParaRPr lang="de-DE"/>
        </a:p>
      </dgm:t>
    </dgm:pt>
    <dgm:pt modelId="{13459AEB-C7B5-4B38-80A7-C9867B3EB642}" type="pres">
      <dgm:prSet presAssocID="{82452DCF-232A-407F-8B9F-239A96594E98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308D8D5-E38F-4A9D-9D1A-9015B5567D72}" type="pres">
      <dgm:prSet presAssocID="{48B75D59-56C7-4372-8AE4-F1D79B6A0B3F}" presName="sibTrans" presStyleLbl="sibTrans1D1" presStyleIdx="1" presStyleCnt="5"/>
      <dgm:spPr/>
      <dgm:t>
        <a:bodyPr/>
        <a:lstStyle/>
        <a:p>
          <a:endParaRPr lang="de-DE"/>
        </a:p>
      </dgm:t>
    </dgm:pt>
    <dgm:pt modelId="{9EAFAD29-15A5-4E55-AC92-32A198137063}" type="pres">
      <dgm:prSet presAssocID="{48B75D59-56C7-4372-8AE4-F1D79B6A0B3F}" presName="connectorText" presStyleLbl="sibTrans1D1" presStyleIdx="1" presStyleCnt="5"/>
      <dgm:spPr/>
      <dgm:t>
        <a:bodyPr/>
        <a:lstStyle/>
        <a:p>
          <a:endParaRPr lang="de-DE"/>
        </a:p>
      </dgm:t>
    </dgm:pt>
    <dgm:pt modelId="{8EDD94B1-7527-400A-BF72-5A0A9D075471}" type="pres">
      <dgm:prSet presAssocID="{38DB7276-0691-424A-BAAA-3B31662FB8AA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C2709E5-B21A-451B-9FA3-4F70E2E5BFB1}" type="pres">
      <dgm:prSet presAssocID="{85B87230-C043-4C1D-87CD-908000B65C2E}" presName="sibTrans" presStyleLbl="sibTrans1D1" presStyleIdx="2" presStyleCnt="5"/>
      <dgm:spPr/>
      <dgm:t>
        <a:bodyPr/>
        <a:lstStyle/>
        <a:p>
          <a:endParaRPr lang="de-DE"/>
        </a:p>
      </dgm:t>
    </dgm:pt>
    <dgm:pt modelId="{46346E44-777D-4958-9171-F1888094D4EC}" type="pres">
      <dgm:prSet presAssocID="{85B87230-C043-4C1D-87CD-908000B65C2E}" presName="connectorText" presStyleLbl="sibTrans1D1" presStyleIdx="2" presStyleCnt="5"/>
      <dgm:spPr/>
      <dgm:t>
        <a:bodyPr/>
        <a:lstStyle/>
        <a:p>
          <a:endParaRPr lang="de-DE"/>
        </a:p>
      </dgm:t>
    </dgm:pt>
    <dgm:pt modelId="{CE03B5CE-F3B0-4A17-9638-C582A1BB8AC4}" type="pres">
      <dgm:prSet presAssocID="{6E93FA4F-B399-4CE1-B9FC-78319FABED40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9E48F2-E3EE-46B1-81D6-C925E0C39611}" type="pres">
      <dgm:prSet presAssocID="{5E3E4725-5959-479C-AD77-5722B872AFE4}" presName="sibTrans" presStyleLbl="sibTrans1D1" presStyleIdx="3" presStyleCnt="5"/>
      <dgm:spPr/>
      <dgm:t>
        <a:bodyPr/>
        <a:lstStyle/>
        <a:p>
          <a:endParaRPr lang="de-DE"/>
        </a:p>
      </dgm:t>
    </dgm:pt>
    <dgm:pt modelId="{682121FC-DF9C-4B07-9F98-00272C6572AE}" type="pres">
      <dgm:prSet presAssocID="{5E3E4725-5959-479C-AD77-5722B872AFE4}" presName="connectorText" presStyleLbl="sibTrans1D1" presStyleIdx="3" presStyleCnt="5"/>
      <dgm:spPr/>
      <dgm:t>
        <a:bodyPr/>
        <a:lstStyle/>
        <a:p>
          <a:endParaRPr lang="de-DE"/>
        </a:p>
      </dgm:t>
    </dgm:pt>
    <dgm:pt modelId="{E16655F4-9D8B-458E-BE79-35E88E622DDB}" type="pres">
      <dgm:prSet presAssocID="{04F6032E-481B-47A2-8548-5BFEFDA0276D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DCB6C76-0C40-42F5-B0EF-FB12DF684CD1}" type="pres">
      <dgm:prSet presAssocID="{AD163FCE-4007-4CE4-9036-CD114F07627E}" presName="sibTrans" presStyleLbl="sibTrans1D1" presStyleIdx="4" presStyleCnt="5"/>
      <dgm:spPr/>
      <dgm:t>
        <a:bodyPr/>
        <a:lstStyle/>
        <a:p>
          <a:endParaRPr lang="de-DE"/>
        </a:p>
      </dgm:t>
    </dgm:pt>
    <dgm:pt modelId="{C7CC6C30-80AC-416F-97D0-798C09D66D34}" type="pres">
      <dgm:prSet presAssocID="{AD163FCE-4007-4CE4-9036-CD114F07627E}" presName="connectorText" presStyleLbl="sibTrans1D1" presStyleIdx="4" presStyleCnt="5"/>
      <dgm:spPr/>
      <dgm:t>
        <a:bodyPr/>
        <a:lstStyle/>
        <a:p>
          <a:endParaRPr lang="de-DE"/>
        </a:p>
      </dgm:t>
    </dgm:pt>
    <dgm:pt modelId="{E896A7BE-2FA2-4FC1-B447-31BB37B68D5E}" type="pres">
      <dgm:prSet presAssocID="{57BA47CA-D1C6-46EF-B73F-4C057557D661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3656EE2E-D79A-447C-8D09-9CDB356922D7}" type="presOf" srcId="{5E3E4725-5959-479C-AD77-5722B872AFE4}" destId="{7B9E48F2-E3EE-46B1-81D6-C925E0C39611}" srcOrd="0" destOrd="0" presId="urn:microsoft.com/office/officeart/2005/8/layout/bProcess3"/>
    <dgm:cxn modelId="{7A9A4550-A379-419E-BB50-86347D575C42}" srcId="{5D7B8CE8-D651-4939-90C1-2E8FF46A29FC}" destId="{38DB7276-0691-424A-BAAA-3B31662FB8AA}" srcOrd="2" destOrd="0" parTransId="{5D64C091-2BF9-4ABD-BC2A-DED216961915}" sibTransId="{85B87230-C043-4C1D-87CD-908000B65C2E}"/>
    <dgm:cxn modelId="{80530AD5-745E-4A63-B579-CABD4AF2A64C}" type="presOf" srcId="{48B75D59-56C7-4372-8AE4-F1D79B6A0B3F}" destId="{E308D8D5-E38F-4A9D-9D1A-9015B5567D72}" srcOrd="0" destOrd="0" presId="urn:microsoft.com/office/officeart/2005/8/layout/bProcess3"/>
    <dgm:cxn modelId="{24DD9356-25B0-4D41-9BAC-8413F834EA51}" type="presOf" srcId="{85B87230-C043-4C1D-87CD-908000B65C2E}" destId="{BC2709E5-B21A-451B-9FA3-4F70E2E5BFB1}" srcOrd="0" destOrd="0" presId="urn:microsoft.com/office/officeart/2005/8/layout/bProcess3"/>
    <dgm:cxn modelId="{23F080CA-5D01-4D23-85A5-E608894D7BE5}" srcId="{5D7B8CE8-D651-4939-90C1-2E8FF46A29FC}" destId="{6E93FA4F-B399-4CE1-B9FC-78319FABED40}" srcOrd="3" destOrd="0" parTransId="{014618B8-8363-4B67-BC0F-373820071FE1}" sibTransId="{5E3E4725-5959-479C-AD77-5722B872AFE4}"/>
    <dgm:cxn modelId="{1287F795-A987-4E49-9A6C-5A014264EE8C}" type="presOf" srcId="{48B75D59-56C7-4372-8AE4-F1D79B6A0B3F}" destId="{9EAFAD29-15A5-4E55-AC92-32A198137063}" srcOrd="1" destOrd="0" presId="urn:microsoft.com/office/officeart/2005/8/layout/bProcess3"/>
    <dgm:cxn modelId="{1830B075-A0E2-4677-862D-9DD064CF8981}" type="presOf" srcId="{38DB7276-0691-424A-BAAA-3B31662FB8AA}" destId="{8EDD94B1-7527-400A-BF72-5A0A9D075471}" srcOrd="0" destOrd="0" presId="urn:microsoft.com/office/officeart/2005/8/layout/bProcess3"/>
    <dgm:cxn modelId="{5BE633B4-8BDC-48D7-AE6B-F75B1DB15278}" type="presOf" srcId="{57BA47CA-D1C6-46EF-B73F-4C057557D661}" destId="{E896A7BE-2FA2-4FC1-B447-31BB37B68D5E}" srcOrd="0" destOrd="0" presId="urn:microsoft.com/office/officeart/2005/8/layout/bProcess3"/>
    <dgm:cxn modelId="{0F12B9E1-F613-4595-BE26-BAC785D21B79}" type="presOf" srcId="{6E93FA4F-B399-4CE1-B9FC-78319FABED40}" destId="{CE03B5CE-F3B0-4A17-9638-C582A1BB8AC4}" srcOrd="0" destOrd="0" presId="urn:microsoft.com/office/officeart/2005/8/layout/bProcess3"/>
    <dgm:cxn modelId="{F46C5EC7-E278-421D-A6DD-8D1CF98451BF}" srcId="{5D7B8CE8-D651-4939-90C1-2E8FF46A29FC}" destId="{99B2C1A9-9A62-4ACA-8BA8-0A30C93EB5E2}" srcOrd="0" destOrd="0" parTransId="{20338AD1-FB36-4402-8FD1-32131343AA55}" sibTransId="{98703F00-0C5F-4657-827D-B04E440E614E}"/>
    <dgm:cxn modelId="{E8E239EE-D5AA-4AC4-B33F-37DCB77D3CBA}" type="presOf" srcId="{98703F00-0C5F-4657-827D-B04E440E614E}" destId="{D3BE1247-62A4-4F1C-862D-E895F32DFB83}" srcOrd="1" destOrd="0" presId="urn:microsoft.com/office/officeart/2005/8/layout/bProcess3"/>
    <dgm:cxn modelId="{9750139B-B746-4D7D-88DD-FEE357F05F59}" type="presOf" srcId="{98703F00-0C5F-4657-827D-B04E440E614E}" destId="{845E31C6-6850-4FDD-BAB0-50E35C94C46E}" srcOrd="0" destOrd="0" presId="urn:microsoft.com/office/officeart/2005/8/layout/bProcess3"/>
    <dgm:cxn modelId="{04E26EC9-23E1-4919-A0FC-37774316032C}" type="presOf" srcId="{04F6032E-481B-47A2-8548-5BFEFDA0276D}" destId="{E16655F4-9D8B-458E-BE79-35E88E622DDB}" srcOrd="0" destOrd="0" presId="urn:microsoft.com/office/officeart/2005/8/layout/bProcess3"/>
    <dgm:cxn modelId="{664A47F3-25F6-4DB9-9DFA-398B46667904}" type="presOf" srcId="{AD163FCE-4007-4CE4-9036-CD114F07627E}" destId="{BDCB6C76-0C40-42F5-B0EF-FB12DF684CD1}" srcOrd="0" destOrd="0" presId="urn:microsoft.com/office/officeart/2005/8/layout/bProcess3"/>
    <dgm:cxn modelId="{B202C185-67E4-4825-8095-4088F24EE8ED}" type="presOf" srcId="{85B87230-C043-4C1D-87CD-908000B65C2E}" destId="{46346E44-777D-4958-9171-F1888094D4EC}" srcOrd="1" destOrd="0" presId="urn:microsoft.com/office/officeart/2005/8/layout/bProcess3"/>
    <dgm:cxn modelId="{39393AAF-B524-40AA-AD8E-B4186AC84D35}" type="presOf" srcId="{5E3E4725-5959-479C-AD77-5722B872AFE4}" destId="{682121FC-DF9C-4B07-9F98-00272C6572AE}" srcOrd="1" destOrd="0" presId="urn:microsoft.com/office/officeart/2005/8/layout/bProcess3"/>
    <dgm:cxn modelId="{C1230572-6AD7-4520-8674-19EB5CF5A6EB}" type="presOf" srcId="{5D7B8CE8-D651-4939-90C1-2E8FF46A29FC}" destId="{3A7D8C84-6AE4-4000-A7D8-3A3A3328A649}" srcOrd="0" destOrd="0" presId="urn:microsoft.com/office/officeart/2005/8/layout/bProcess3"/>
    <dgm:cxn modelId="{A0B07608-6D1F-4049-972D-9BD4476E4656}" type="presOf" srcId="{AD163FCE-4007-4CE4-9036-CD114F07627E}" destId="{C7CC6C30-80AC-416F-97D0-798C09D66D34}" srcOrd="1" destOrd="0" presId="urn:microsoft.com/office/officeart/2005/8/layout/bProcess3"/>
    <dgm:cxn modelId="{981E6E62-37FF-4515-AF34-A3AAB6FA89CD}" type="presOf" srcId="{82452DCF-232A-407F-8B9F-239A96594E98}" destId="{13459AEB-C7B5-4B38-80A7-C9867B3EB642}" srcOrd="0" destOrd="0" presId="urn:microsoft.com/office/officeart/2005/8/layout/bProcess3"/>
    <dgm:cxn modelId="{7D58A934-4F82-4F63-9503-E802172E642A}" srcId="{5D7B8CE8-D651-4939-90C1-2E8FF46A29FC}" destId="{57BA47CA-D1C6-46EF-B73F-4C057557D661}" srcOrd="5" destOrd="0" parTransId="{93977255-256D-4CBF-AC4F-0761701A5662}" sibTransId="{4C0237E0-A862-4EA6-A085-93C725E0CF75}"/>
    <dgm:cxn modelId="{969D98B4-666B-475D-9CA4-FE90AFCDD65E}" srcId="{5D7B8CE8-D651-4939-90C1-2E8FF46A29FC}" destId="{04F6032E-481B-47A2-8548-5BFEFDA0276D}" srcOrd="4" destOrd="0" parTransId="{EE0ABFA3-1100-42EC-BCFD-5F24C665077B}" sibTransId="{AD163FCE-4007-4CE4-9036-CD114F07627E}"/>
    <dgm:cxn modelId="{DF09EE25-DE79-4D75-B037-783985A4C945}" srcId="{5D7B8CE8-D651-4939-90C1-2E8FF46A29FC}" destId="{82452DCF-232A-407F-8B9F-239A96594E98}" srcOrd="1" destOrd="0" parTransId="{3327FCB9-0A64-49F4-AE68-029FBA41782A}" sibTransId="{48B75D59-56C7-4372-8AE4-F1D79B6A0B3F}"/>
    <dgm:cxn modelId="{6D5E8E91-D3B1-4F88-8DFF-AD5CC9D7FC8C}" type="presOf" srcId="{99B2C1A9-9A62-4ACA-8BA8-0A30C93EB5E2}" destId="{6031514D-EA9E-4EF4-85F7-3C6A74196969}" srcOrd="0" destOrd="0" presId="urn:microsoft.com/office/officeart/2005/8/layout/bProcess3"/>
    <dgm:cxn modelId="{BE008D7B-8CFA-42C3-B523-DA273AD14658}" type="presParOf" srcId="{3A7D8C84-6AE4-4000-A7D8-3A3A3328A649}" destId="{6031514D-EA9E-4EF4-85F7-3C6A74196969}" srcOrd="0" destOrd="0" presId="urn:microsoft.com/office/officeart/2005/8/layout/bProcess3"/>
    <dgm:cxn modelId="{F24FA450-A2A6-44E9-A788-41EBF7CC1511}" type="presParOf" srcId="{3A7D8C84-6AE4-4000-A7D8-3A3A3328A649}" destId="{845E31C6-6850-4FDD-BAB0-50E35C94C46E}" srcOrd="1" destOrd="0" presId="urn:microsoft.com/office/officeart/2005/8/layout/bProcess3"/>
    <dgm:cxn modelId="{4035DED7-D7E4-4828-898D-1022925964A9}" type="presParOf" srcId="{845E31C6-6850-4FDD-BAB0-50E35C94C46E}" destId="{D3BE1247-62A4-4F1C-862D-E895F32DFB83}" srcOrd="0" destOrd="0" presId="urn:microsoft.com/office/officeart/2005/8/layout/bProcess3"/>
    <dgm:cxn modelId="{F6036377-3E73-401A-960A-C1B4940E2A4E}" type="presParOf" srcId="{3A7D8C84-6AE4-4000-A7D8-3A3A3328A649}" destId="{13459AEB-C7B5-4B38-80A7-C9867B3EB642}" srcOrd="2" destOrd="0" presId="urn:microsoft.com/office/officeart/2005/8/layout/bProcess3"/>
    <dgm:cxn modelId="{A54459FC-3BB2-4961-A6EF-647EA8100830}" type="presParOf" srcId="{3A7D8C84-6AE4-4000-A7D8-3A3A3328A649}" destId="{E308D8D5-E38F-4A9D-9D1A-9015B5567D72}" srcOrd="3" destOrd="0" presId="urn:microsoft.com/office/officeart/2005/8/layout/bProcess3"/>
    <dgm:cxn modelId="{5198A30A-E2BC-4421-97FF-A7E97852D7C5}" type="presParOf" srcId="{E308D8D5-E38F-4A9D-9D1A-9015B5567D72}" destId="{9EAFAD29-15A5-4E55-AC92-32A198137063}" srcOrd="0" destOrd="0" presId="urn:microsoft.com/office/officeart/2005/8/layout/bProcess3"/>
    <dgm:cxn modelId="{EC757E03-04CB-4EDC-89FE-6FC46C6A27AB}" type="presParOf" srcId="{3A7D8C84-6AE4-4000-A7D8-3A3A3328A649}" destId="{8EDD94B1-7527-400A-BF72-5A0A9D075471}" srcOrd="4" destOrd="0" presId="urn:microsoft.com/office/officeart/2005/8/layout/bProcess3"/>
    <dgm:cxn modelId="{E183A8D6-F55F-4617-BBCA-CB9D19700636}" type="presParOf" srcId="{3A7D8C84-6AE4-4000-A7D8-3A3A3328A649}" destId="{BC2709E5-B21A-451B-9FA3-4F70E2E5BFB1}" srcOrd="5" destOrd="0" presId="urn:microsoft.com/office/officeart/2005/8/layout/bProcess3"/>
    <dgm:cxn modelId="{5680AA9C-8EF5-4184-A1B7-6E689CED2AFF}" type="presParOf" srcId="{BC2709E5-B21A-451B-9FA3-4F70E2E5BFB1}" destId="{46346E44-777D-4958-9171-F1888094D4EC}" srcOrd="0" destOrd="0" presId="urn:microsoft.com/office/officeart/2005/8/layout/bProcess3"/>
    <dgm:cxn modelId="{09EF1326-A7A6-43B7-AC2D-C6C3AEB40D78}" type="presParOf" srcId="{3A7D8C84-6AE4-4000-A7D8-3A3A3328A649}" destId="{CE03B5CE-F3B0-4A17-9638-C582A1BB8AC4}" srcOrd="6" destOrd="0" presId="urn:microsoft.com/office/officeart/2005/8/layout/bProcess3"/>
    <dgm:cxn modelId="{DC5A48FE-C155-4A89-BC55-CDCD1251E984}" type="presParOf" srcId="{3A7D8C84-6AE4-4000-A7D8-3A3A3328A649}" destId="{7B9E48F2-E3EE-46B1-81D6-C925E0C39611}" srcOrd="7" destOrd="0" presId="urn:microsoft.com/office/officeart/2005/8/layout/bProcess3"/>
    <dgm:cxn modelId="{B8F3B57F-EAE4-4D0C-836F-F9183D3F772C}" type="presParOf" srcId="{7B9E48F2-E3EE-46B1-81D6-C925E0C39611}" destId="{682121FC-DF9C-4B07-9F98-00272C6572AE}" srcOrd="0" destOrd="0" presId="urn:microsoft.com/office/officeart/2005/8/layout/bProcess3"/>
    <dgm:cxn modelId="{8DAA11AC-6CCA-47F4-BDD9-67E54F60A8A4}" type="presParOf" srcId="{3A7D8C84-6AE4-4000-A7D8-3A3A3328A649}" destId="{E16655F4-9D8B-458E-BE79-35E88E622DDB}" srcOrd="8" destOrd="0" presId="urn:microsoft.com/office/officeart/2005/8/layout/bProcess3"/>
    <dgm:cxn modelId="{E00B2490-DF8E-4FBE-96B5-ED8E15C9D51B}" type="presParOf" srcId="{3A7D8C84-6AE4-4000-A7D8-3A3A3328A649}" destId="{BDCB6C76-0C40-42F5-B0EF-FB12DF684CD1}" srcOrd="9" destOrd="0" presId="urn:microsoft.com/office/officeart/2005/8/layout/bProcess3"/>
    <dgm:cxn modelId="{6B895048-F5F9-4EFE-B21A-A49B4DA1D8CD}" type="presParOf" srcId="{BDCB6C76-0C40-42F5-B0EF-FB12DF684CD1}" destId="{C7CC6C30-80AC-416F-97D0-798C09D66D34}" srcOrd="0" destOrd="0" presId="urn:microsoft.com/office/officeart/2005/8/layout/bProcess3"/>
    <dgm:cxn modelId="{107C809D-9B61-4142-AA7D-6D11D5068C79}" type="presParOf" srcId="{3A7D8C84-6AE4-4000-A7D8-3A3A3328A649}" destId="{E896A7BE-2FA2-4FC1-B447-31BB37B68D5E}" srcOrd="10" destOrd="0" presId="urn:microsoft.com/office/officeart/2005/8/layout/bProcess3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83D1FC52-E086-46E4-8C7F-E6B3DC760D61}" type="presOf" srcId="{D0C25FB2-BCD9-40F2-AD7D-9958175F77A4}" destId="{3E9602A8-0A34-4630-A972-81E39BB9FA5D}" srcOrd="0" destOrd="0" presId="urn:microsoft.com/office/officeart/2005/8/layout/chevron1"/>
    <dgm:cxn modelId="{318AE01E-7223-460C-92E1-B591716D6DC0}" type="presOf" srcId="{F351D095-D2C1-4F62-A18D-EFB4BA6E2AA9}" destId="{6BF66C9A-92D4-481D-A538-FD1A4E3DC0D5}" srcOrd="0" destOrd="0" presId="urn:microsoft.com/office/officeart/2005/8/layout/chevron1"/>
    <dgm:cxn modelId="{40702359-E6BE-4D55-B7A5-542E781FCCC8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BF01FBEE-05FC-4FD5-B50C-4DDC335B0992}" type="presOf" srcId="{EB61DA86-9B86-4759-822E-DA32F7AA073E}" destId="{135DB1F4-89C2-4733-9521-42FD5CECF10C}" srcOrd="0" destOrd="0" presId="urn:microsoft.com/office/officeart/2005/8/layout/chevron1"/>
    <dgm:cxn modelId="{E6ACBD58-5EDD-49F1-ACA3-40871F01954C}" type="presOf" srcId="{D14807FD-294C-4482-91EE-34C09B13669A}" destId="{BCE275B7-D1E9-4183-BABE-507E54E1C931}" srcOrd="0" destOrd="0" presId="urn:microsoft.com/office/officeart/2005/8/layout/chevron1"/>
    <dgm:cxn modelId="{CBB49A46-BD04-4BFB-9549-7500C3FCB410}" type="presParOf" srcId="{0AECE453-CE2A-473C-BD27-70D00DA5B95C}" destId="{135DB1F4-89C2-4733-9521-42FD5CECF10C}" srcOrd="0" destOrd="0" presId="urn:microsoft.com/office/officeart/2005/8/layout/chevron1"/>
    <dgm:cxn modelId="{B95683A2-452C-4378-A190-1AFF16EC1DC8}" type="presParOf" srcId="{0AECE453-CE2A-473C-BD27-70D00DA5B95C}" destId="{E1C76734-9ABE-473C-AD4C-C4BF49F91E97}" srcOrd="1" destOrd="0" presId="urn:microsoft.com/office/officeart/2005/8/layout/chevron1"/>
    <dgm:cxn modelId="{964DF444-86B3-4760-87C9-782046F342DE}" type="presParOf" srcId="{0AECE453-CE2A-473C-BD27-70D00DA5B95C}" destId="{6BF66C9A-92D4-481D-A538-FD1A4E3DC0D5}" srcOrd="2" destOrd="0" presId="urn:microsoft.com/office/officeart/2005/8/layout/chevron1"/>
    <dgm:cxn modelId="{4FF09281-DF16-4EB4-9B21-801D20A134CB}" type="presParOf" srcId="{0AECE453-CE2A-473C-BD27-70D00DA5B95C}" destId="{691CB221-7DD5-49BE-AC21-301798066F30}" srcOrd="3" destOrd="0" presId="urn:microsoft.com/office/officeart/2005/8/layout/chevron1"/>
    <dgm:cxn modelId="{52E15BB3-DFE0-43A6-ABB4-B7FEE8EB4FC4}" type="presParOf" srcId="{0AECE453-CE2A-473C-BD27-70D00DA5B95C}" destId="{3E9602A8-0A34-4630-A972-81E39BB9FA5D}" srcOrd="4" destOrd="0" presId="urn:microsoft.com/office/officeart/2005/8/layout/chevron1"/>
    <dgm:cxn modelId="{D7047E13-D8F5-4A1A-835C-11635CE96243}" type="presParOf" srcId="{0AECE453-CE2A-473C-BD27-70D00DA5B95C}" destId="{D0B9A118-173B-40DB-89B8-9F21FF5432C9}" srcOrd="5" destOrd="0" presId="urn:microsoft.com/office/officeart/2005/8/layout/chevron1"/>
    <dgm:cxn modelId="{058D11FF-882E-444D-B382-C2EC53DD3452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CAF2DEA9-2114-4CC3-A8B6-493A9EE14184}" type="presOf" srcId="{D14807FD-294C-4482-91EE-34C09B13669A}" destId="{BCE275B7-D1E9-4183-BABE-507E54E1C931}" srcOrd="0" destOrd="0" presId="urn:microsoft.com/office/officeart/2005/8/layout/chevron1"/>
    <dgm:cxn modelId="{8CB60E12-759C-47B6-9949-9548D95228AA}" type="presOf" srcId="{D0C25FB2-BCD9-40F2-AD7D-9958175F77A4}" destId="{3E9602A8-0A34-4630-A972-81E39BB9FA5D}" srcOrd="0" destOrd="0" presId="urn:microsoft.com/office/officeart/2005/8/layout/chevron1"/>
    <dgm:cxn modelId="{388B0B11-5611-4446-9C02-67161850DF54}" type="presOf" srcId="{F351D095-D2C1-4F62-A18D-EFB4BA6E2AA9}" destId="{6BF66C9A-92D4-481D-A538-FD1A4E3DC0D5}" srcOrd="0" destOrd="0" presId="urn:microsoft.com/office/officeart/2005/8/layout/chevron1"/>
    <dgm:cxn modelId="{C1AED1D9-5CB7-43A9-9956-403D17B43CE7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F9C8F141-95AF-46CC-B2A9-253D3A1E407F}" type="presOf" srcId="{EB61DA86-9B86-4759-822E-DA32F7AA073E}" destId="{135DB1F4-89C2-4733-9521-42FD5CECF10C}" srcOrd="0" destOrd="0" presId="urn:microsoft.com/office/officeart/2005/8/layout/chevron1"/>
    <dgm:cxn modelId="{41B50549-607C-4521-9C5F-4EE56CA9B7EB}" type="presParOf" srcId="{0AECE453-CE2A-473C-BD27-70D00DA5B95C}" destId="{135DB1F4-89C2-4733-9521-42FD5CECF10C}" srcOrd="0" destOrd="0" presId="urn:microsoft.com/office/officeart/2005/8/layout/chevron1"/>
    <dgm:cxn modelId="{AB84B7A8-309B-447D-98DE-1340518E3365}" type="presParOf" srcId="{0AECE453-CE2A-473C-BD27-70D00DA5B95C}" destId="{E1C76734-9ABE-473C-AD4C-C4BF49F91E97}" srcOrd="1" destOrd="0" presId="urn:microsoft.com/office/officeart/2005/8/layout/chevron1"/>
    <dgm:cxn modelId="{744F07EC-E10C-4A87-8C10-3DE5228A75F1}" type="presParOf" srcId="{0AECE453-CE2A-473C-BD27-70D00DA5B95C}" destId="{6BF66C9A-92D4-481D-A538-FD1A4E3DC0D5}" srcOrd="2" destOrd="0" presId="urn:microsoft.com/office/officeart/2005/8/layout/chevron1"/>
    <dgm:cxn modelId="{08DD2468-68FC-4DE9-8DCD-50E55EB07C9E}" type="presParOf" srcId="{0AECE453-CE2A-473C-BD27-70D00DA5B95C}" destId="{691CB221-7DD5-49BE-AC21-301798066F30}" srcOrd="3" destOrd="0" presId="urn:microsoft.com/office/officeart/2005/8/layout/chevron1"/>
    <dgm:cxn modelId="{E8343C26-9019-4B51-933F-713D8BBA7266}" type="presParOf" srcId="{0AECE453-CE2A-473C-BD27-70D00DA5B95C}" destId="{3E9602A8-0A34-4630-A972-81E39BB9FA5D}" srcOrd="4" destOrd="0" presId="urn:microsoft.com/office/officeart/2005/8/layout/chevron1"/>
    <dgm:cxn modelId="{EF27B996-7DD4-44E3-B436-1292E1847322}" type="presParOf" srcId="{0AECE453-CE2A-473C-BD27-70D00DA5B95C}" destId="{D0B9A118-173B-40DB-89B8-9F21FF5432C9}" srcOrd="5" destOrd="0" presId="urn:microsoft.com/office/officeart/2005/8/layout/chevron1"/>
    <dgm:cxn modelId="{65506CC7-944B-4645-A1AF-8EC25F484148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F19DA64A-2C03-41E5-ADAA-C978F94A0AE1}" type="doc">
      <dgm:prSet loTypeId="urn:microsoft.com/office/officeart/2005/8/layout/hProcess4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1D29E8D6-45C4-4766-9EE2-39073334B914}">
      <dgm:prSet phldrT="[Text]"/>
      <dgm:spPr/>
      <dgm:t>
        <a:bodyPr/>
        <a:lstStyle/>
        <a:p>
          <a:r>
            <a:rPr lang="de-DE" dirty="0" smtClean="0"/>
            <a:t>Introduction</a:t>
          </a:r>
          <a:endParaRPr lang="de-DE" dirty="0"/>
        </a:p>
      </dgm:t>
    </dgm:pt>
    <dgm:pt modelId="{A17B8255-C898-4D61-90BB-4369F547F9EE}" type="parTrans" cxnId="{16A77C45-8F0B-4E37-830C-AFB95DFA566B}">
      <dgm:prSet/>
      <dgm:spPr/>
      <dgm:t>
        <a:bodyPr/>
        <a:lstStyle/>
        <a:p>
          <a:endParaRPr lang="de-DE"/>
        </a:p>
      </dgm:t>
    </dgm:pt>
    <dgm:pt modelId="{02FC5717-8F33-435C-A443-4125A6E60485}" type="sibTrans" cxnId="{16A77C45-8F0B-4E37-830C-AFB95DFA566B}">
      <dgm:prSet/>
      <dgm:spPr/>
      <dgm:t>
        <a:bodyPr/>
        <a:lstStyle/>
        <a:p>
          <a:endParaRPr lang="de-DE" dirty="0"/>
        </a:p>
      </dgm:t>
    </dgm:pt>
    <dgm:pt modelId="{D9B18B51-5DB5-45F7-8D85-19BFDAE7EE70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 DevOps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C2D7CCD1-061C-4F05-BFC4-43ADD398DDB7}" type="parTrans" cxnId="{4C03B5AE-9A2B-4FE4-8341-B655E16B70F1}">
      <dgm:prSet/>
      <dgm:spPr/>
      <dgm:t>
        <a:bodyPr/>
        <a:lstStyle/>
        <a:p>
          <a:endParaRPr lang="de-DE"/>
        </a:p>
      </dgm:t>
    </dgm:pt>
    <dgm:pt modelId="{CD141744-A1A3-4A5D-B661-8D7E73DEE3C1}" type="sibTrans" cxnId="{4C03B5AE-9A2B-4FE4-8341-B655E16B70F1}">
      <dgm:prSet/>
      <dgm:spPr/>
      <dgm:t>
        <a:bodyPr/>
        <a:lstStyle/>
        <a:p>
          <a:endParaRPr lang="de-DE"/>
        </a:p>
      </dgm:t>
    </dgm:pt>
    <dgm:pt modelId="{80CFA889-5351-4E28-8BE6-43BFAEE53451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 general information (tasks/goals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3B470D06-755A-4FDC-AECA-3A9994C7AFD9}" type="parTrans" cxnId="{79375B53-1021-4279-982A-35AFEBF2982D}">
      <dgm:prSet/>
      <dgm:spPr/>
      <dgm:t>
        <a:bodyPr/>
        <a:lstStyle/>
        <a:p>
          <a:endParaRPr lang="de-DE"/>
        </a:p>
      </dgm:t>
    </dgm:pt>
    <dgm:pt modelId="{3BA148EF-6FCE-4690-8755-958962BB541A}" type="sibTrans" cxnId="{79375B53-1021-4279-982A-35AFEBF2982D}">
      <dgm:prSet/>
      <dgm:spPr/>
      <dgm:t>
        <a:bodyPr/>
        <a:lstStyle/>
        <a:p>
          <a:endParaRPr lang="de-DE"/>
        </a:p>
      </dgm:t>
    </dgm:pt>
    <dgm:pt modelId="{9787083E-A30F-4E27-92D4-E96F8A4B707E}">
      <dgm:prSet phldrT="[Text]"/>
      <dgm:spPr/>
      <dgm:t>
        <a:bodyPr/>
        <a:lstStyle/>
        <a:p>
          <a:r>
            <a:rPr lang="de-DE" dirty="0" smtClean="0"/>
            <a:t>OpenStack</a:t>
          </a:r>
          <a:endParaRPr lang="de-DE" dirty="0"/>
        </a:p>
      </dgm:t>
    </dgm:pt>
    <dgm:pt modelId="{071F18BC-ED4E-47F4-9B5A-813FFF2999AE}" type="parTrans" cxnId="{3CD8964E-2B3D-4FA2-99FC-D36F0BCA2EFF}">
      <dgm:prSet/>
      <dgm:spPr/>
      <dgm:t>
        <a:bodyPr/>
        <a:lstStyle/>
        <a:p>
          <a:endParaRPr lang="de-DE"/>
        </a:p>
      </dgm:t>
    </dgm:pt>
    <dgm:pt modelId="{E3642DD6-1F6B-43AA-9D67-2CF84888C750}" type="sibTrans" cxnId="{3CD8964E-2B3D-4FA2-99FC-D36F0BCA2EFF}">
      <dgm:prSet/>
      <dgm:spPr/>
      <dgm:t>
        <a:bodyPr/>
        <a:lstStyle/>
        <a:p>
          <a:endParaRPr lang="de-DE" dirty="0"/>
        </a:p>
      </dgm:t>
    </dgm:pt>
    <dgm:pt modelId="{60742F7F-B628-4896-B2D0-A5635FF38DF0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 what 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is it?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AC6F52CB-33BD-46BB-B45A-EAFB48C857E6}" type="parTrans" cxnId="{0FC9EA78-C4DA-4E62-A987-D52BE3F1C341}">
      <dgm:prSet/>
      <dgm:spPr/>
      <dgm:t>
        <a:bodyPr/>
        <a:lstStyle/>
        <a:p>
          <a:endParaRPr lang="de-DE"/>
        </a:p>
      </dgm:t>
    </dgm:pt>
    <dgm:pt modelId="{F567A1C8-8C6B-4352-8AAD-A76402D34BBB}" type="sibTrans" cxnId="{0FC9EA78-C4DA-4E62-A987-D52BE3F1C341}">
      <dgm:prSet/>
      <dgm:spPr/>
      <dgm:t>
        <a:bodyPr/>
        <a:lstStyle/>
        <a:p>
          <a:endParaRPr lang="de-DE"/>
        </a:p>
      </dgm:t>
    </dgm:pt>
    <dgm:pt modelId="{B8CBAB91-7886-47B2-AD4A-8B98871644A2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 which 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features?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415F4158-40E6-4707-8FB7-C5B5541C5015}" type="parTrans" cxnId="{89CFE607-364A-4F62-B245-E2C8A556CA6E}">
      <dgm:prSet/>
      <dgm:spPr/>
      <dgm:t>
        <a:bodyPr/>
        <a:lstStyle/>
        <a:p>
          <a:endParaRPr lang="de-DE"/>
        </a:p>
      </dgm:t>
    </dgm:pt>
    <dgm:pt modelId="{B4ABF896-9851-4F69-9A37-D9EFE9604299}" type="sibTrans" cxnId="{89CFE607-364A-4F62-B245-E2C8A556CA6E}">
      <dgm:prSet/>
      <dgm:spPr/>
      <dgm:t>
        <a:bodyPr/>
        <a:lstStyle/>
        <a:p>
          <a:endParaRPr lang="de-DE"/>
        </a:p>
      </dgm:t>
    </dgm:pt>
    <dgm:pt modelId="{19F480E7-F1A0-4DE0-8978-074DED21D435}">
      <dgm:prSet phldrT="[Text]"/>
      <dgm:spPr/>
      <dgm:t>
        <a:bodyPr/>
        <a:lstStyle/>
        <a:p>
          <a:r>
            <a:rPr lang="de-DE" dirty="0" smtClean="0"/>
            <a:t>TelekomCLOUD</a:t>
          </a:r>
          <a:endParaRPr lang="de-DE" dirty="0"/>
        </a:p>
      </dgm:t>
    </dgm:pt>
    <dgm:pt modelId="{D5701790-9397-4634-9155-24EF73E13E6C}" type="parTrans" cxnId="{F0EF9E97-ABBE-4191-BBDC-BF3796866ABE}">
      <dgm:prSet/>
      <dgm:spPr/>
      <dgm:t>
        <a:bodyPr/>
        <a:lstStyle/>
        <a:p>
          <a:endParaRPr lang="de-DE"/>
        </a:p>
      </dgm:t>
    </dgm:pt>
    <dgm:pt modelId="{2CF72959-CC85-4375-9DEF-CCC9934239AC}" type="sibTrans" cxnId="{F0EF9E97-ABBE-4191-BBDC-BF3796866ABE}">
      <dgm:prSet/>
      <dgm:spPr/>
      <dgm:t>
        <a:bodyPr/>
        <a:lstStyle/>
        <a:p>
          <a:endParaRPr lang="de-DE"/>
        </a:p>
      </dgm:t>
    </dgm:pt>
    <dgm:pt modelId="{3E636A7F-0F49-4561-9ECD-DBBDC8F2B2C1}">
      <dgm:prSet phldrT="[Text]" custT="1"/>
      <dgm:spPr/>
      <dgm:t>
        <a:bodyPr/>
        <a:lstStyle/>
        <a:p>
          <a:r>
            <a:rPr lang="de-DE" sz="1050" dirty="0" smtClean="0">
              <a:latin typeface="Arial" pitchFamily="34" charset="0"/>
              <a:cs typeface="Arial" pitchFamily="34" charset="0"/>
            </a:rPr>
            <a:t> 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new 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environment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3BB35E21-76D2-413F-954B-DF2575851051}" type="parTrans" cxnId="{A2FC34C5-2A36-4E8F-A2DC-7F7DA5C1854B}">
      <dgm:prSet/>
      <dgm:spPr/>
      <dgm:t>
        <a:bodyPr/>
        <a:lstStyle/>
        <a:p>
          <a:endParaRPr lang="de-DE"/>
        </a:p>
      </dgm:t>
    </dgm:pt>
    <dgm:pt modelId="{09E76BA2-3781-44ED-8ABD-4CB42F55A664}" type="sibTrans" cxnId="{A2FC34C5-2A36-4E8F-A2DC-7F7DA5C1854B}">
      <dgm:prSet/>
      <dgm:spPr/>
      <dgm:t>
        <a:bodyPr/>
        <a:lstStyle/>
        <a:p>
          <a:endParaRPr lang="de-DE"/>
        </a:p>
      </dgm:t>
    </dgm:pt>
    <dgm:pt modelId="{E6116EAE-791A-4FBB-9940-10479BAC3D3E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 what 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we provide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DB0B1903-6A42-499D-9662-BBEC995E1659}" type="parTrans" cxnId="{A5C71D9B-1C58-4FA8-9585-6B85B3300973}">
      <dgm:prSet/>
      <dgm:spPr/>
      <dgm:t>
        <a:bodyPr/>
        <a:lstStyle/>
        <a:p>
          <a:endParaRPr lang="de-DE"/>
        </a:p>
      </dgm:t>
    </dgm:pt>
    <dgm:pt modelId="{B276290D-A249-46AA-86CF-371B89BC6C3D}" type="sibTrans" cxnId="{A5C71D9B-1C58-4FA8-9585-6B85B3300973}">
      <dgm:prSet/>
      <dgm:spPr/>
      <dgm:t>
        <a:bodyPr/>
        <a:lstStyle/>
        <a:p>
          <a:endParaRPr lang="de-DE"/>
        </a:p>
      </dgm:t>
    </dgm:pt>
    <dgm:pt modelId="{9292FFF5-4783-4EB6-B7AC-0DEA0D632D0D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 how 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to start?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E0F08E28-7195-4304-B5AA-2D3FD2353FF1}" type="parTrans" cxnId="{44A32511-F286-4B2A-AEF9-F12B4C3BEBF4}">
      <dgm:prSet/>
      <dgm:spPr/>
      <dgm:t>
        <a:bodyPr/>
        <a:lstStyle/>
        <a:p>
          <a:endParaRPr lang="de-DE"/>
        </a:p>
      </dgm:t>
    </dgm:pt>
    <dgm:pt modelId="{81C2313B-5C34-4B93-B9BC-3138408055B5}" type="sibTrans" cxnId="{44A32511-F286-4B2A-AEF9-F12B4C3BEBF4}">
      <dgm:prSet/>
      <dgm:spPr/>
      <dgm:t>
        <a:bodyPr/>
        <a:lstStyle/>
        <a:p>
          <a:endParaRPr lang="de-DE"/>
        </a:p>
      </dgm:t>
    </dgm:pt>
    <dgm:pt modelId="{27B51D99-7A94-4E76-A341-80356EB4A05F}">
      <dgm:prSet phldrT="[Text]"/>
      <dgm:spPr/>
      <dgm:t>
        <a:bodyPr/>
        <a:lstStyle/>
        <a:p>
          <a:endParaRPr lang="de-DE" sz="1100" dirty="0"/>
        </a:p>
      </dgm:t>
    </dgm:pt>
    <dgm:pt modelId="{26C5FC4F-411C-4729-A073-FD295AB06A7A}" type="parTrans" cxnId="{C8E07205-84D7-4B7B-B87D-E30864606F99}">
      <dgm:prSet/>
      <dgm:spPr/>
      <dgm:t>
        <a:bodyPr/>
        <a:lstStyle/>
        <a:p>
          <a:endParaRPr lang="de-DE"/>
        </a:p>
      </dgm:t>
    </dgm:pt>
    <dgm:pt modelId="{47EDA791-7B38-4D93-9F52-9E1B2691EC1C}" type="sibTrans" cxnId="{C8E07205-84D7-4B7B-B87D-E30864606F99}">
      <dgm:prSet/>
      <dgm:spPr/>
      <dgm:t>
        <a:bodyPr/>
        <a:lstStyle/>
        <a:p>
          <a:endParaRPr lang="de-DE"/>
        </a:p>
      </dgm:t>
    </dgm:pt>
    <dgm:pt modelId="{4DC1ED2C-7CC6-4321-A9E2-D232A85DA891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 partner 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and 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user integration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B8680361-B7EF-4FC5-9E11-5AA73D69F7A4}" type="parTrans" cxnId="{D3818F5D-5E4C-4D74-9151-3736FB0586E2}">
      <dgm:prSet/>
      <dgm:spPr/>
      <dgm:t>
        <a:bodyPr/>
        <a:lstStyle/>
        <a:p>
          <a:endParaRPr lang="de-DE"/>
        </a:p>
      </dgm:t>
    </dgm:pt>
    <dgm:pt modelId="{D425DC95-A17C-4AD9-9F71-4BC57F587582}" type="sibTrans" cxnId="{D3818F5D-5E4C-4D74-9151-3736FB0586E2}">
      <dgm:prSet/>
      <dgm:spPr/>
      <dgm:t>
        <a:bodyPr/>
        <a:lstStyle/>
        <a:p>
          <a:endParaRPr lang="de-DE"/>
        </a:p>
      </dgm:t>
    </dgm:pt>
    <dgm:pt modelId="{6A8D4F1F-5512-45A1-AD1D-4E159C394BA1}" type="pres">
      <dgm:prSet presAssocID="{F19DA64A-2C03-41E5-ADAA-C978F94A0AE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CCD9565E-1852-4360-A641-BE1DC38AC425}" type="pres">
      <dgm:prSet presAssocID="{F19DA64A-2C03-41E5-ADAA-C978F94A0AE1}" presName="tSp" presStyleCnt="0"/>
      <dgm:spPr/>
    </dgm:pt>
    <dgm:pt modelId="{753F4ABC-934F-494A-B25B-D9B14B57463C}" type="pres">
      <dgm:prSet presAssocID="{F19DA64A-2C03-41E5-ADAA-C978F94A0AE1}" presName="bSp" presStyleCnt="0"/>
      <dgm:spPr/>
    </dgm:pt>
    <dgm:pt modelId="{1FA998D9-8B6E-488B-ACC6-F55F325F0DC2}" type="pres">
      <dgm:prSet presAssocID="{F19DA64A-2C03-41E5-ADAA-C978F94A0AE1}" presName="process" presStyleCnt="0"/>
      <dgm:spPr/>
    </dgm:pt>
    <dgm:pt modelId="{8914166E-3DD8-47F8-AA1D-B53368C7A82D}" type="pres">
      <dgm:prSet presAssocID="{1D29E8D6-45C4-4766-9EE2-39073334B914}" presName="composite1" presStyleCnt="0"/>
      <dgm:spPr/>
    </dgm:pt>
    <dgm:pt modelId="{736A157F-6561-4D5B-8408-E189E88281F2}" type="pres">
      <dgm:prSet presAssocID="{1D29E8D6-45C4-4766-9EE2-39073334B914}" presName="dummyNode1" presStyleLbl="node1" presStyleIdx="0" presStyleCnt="3"/>
      <dgm:spPr/>
    </dgm:pt>
    <dgm:pt modelId="{FC4C6030-747E-48FD-A592-CF6DDA7519A4}" type="pres">
      <dgm:prSet presAssocID="{1D29E8D6-45C4-4766-9EE2-39073334B914}" presName="childNode1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0B49DD0-19A1-41EF-B0F5-8C14CBAC079E}" type="pres">
      <dgm:prSet presAssocID="{1D29E8D6-45C4-4766-9EE2-39073334B914}" presName="childNode1tx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5ED272A9-E92B-4719-96E4-A334C871DDEB}" type="pres">
      <dgm:prSet presAssocID="{1D29E8D6-45C4-4766-9EE2-39073334B914}" presName="parentNode1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AC715AD-8C45-45B6-98E6-935CC74C611D}" type="pres">
      <dgm:prSet presAssocID="{1D29E8D6-45C4-4766-9EE2-39073334B914}" presName="connSite1" presStyleCnt="0"/>
      <dgm:spPr/>
    </dgm:pt>
    <dgm:pt modelId="{5439EF25-BEDD-4B5A-B567-E1403F8FEB8E}" type="pres">
      <dgm:prSet presAssocID="{02FC5717-8F33-435C-A443-4125A6E60485}" presName="Name9" presStyleLbl="sibTrans2D1" presStyleIdx="0" presStyleCnt="2"/>
      <dgm:spPr/>
      <dgm:t>
        <a:bodyPr/>
        <a:lstStyle/>
        <a:p>
          <a:endParaRPr lang="de-DE"/>
        </a:p>
      </dgm:t>
    </dgm:pt>
    <dgm:pt modelId="{D2B376CC-0DB2-4366-A247-DA9A20DC3EEE}" type="pres">
      <dgm:prSet presAssocID="{9787083E-A30F-4E27-92D4-E96F8A4B707E}" presName="composite2" presStyleCnt="0"/>
      <dgm:spPr/>
    </dgm:pt>
    <dgm:pt modelId="{3A589F14-FD66-4AB0-9E4A-3100F9FD4128}" type="pres">
      <dgm:prSet presAssocID="{9787083E-A30F-4E27-92D4-E96F8A4B707E}" presName="dummyNode2" presStyleLbl="node1" presStyleIdx="0" presStyleCnt="3"/>
      <dgm:spPr/>
    </dgm:pt>
    <dgm:pt modelId="{7B116376-1966-411C-8846-0B561668FA8A}" type="pres">
      <dgm:prSet presAssocID="{9787083E-A30F-4E27-92D4-E96F8A4B707E}" presName="childNode2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BE99C35-5B44-4C8B-B0F9-D14622292693}" type="pres">
      <dgm:prSet presAssocID="{9787083E-A30F-4E27-92D4-E96F8A4B707E}" presName="childNode2tx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A97D153-61A1-4F22-9B68-9BB314807883}" type="pres">
      <dgm:prSet presAssocID="{9787083E-A30F-4E27-92D4-E96F8A4B707E}" presName="parentNode2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BCCE621-BDDB-4947-890B-BA7E088A1A65}" type="pres">
      <dgm:prSet presAssocID="{9787083E-A30F-4E27-92D4-E96F8A4B707E}" presName="connSite2" presStyleCnt="0"/>
      <dgm:spPr/>
    </dgm:pt>
    <dgm:pt modelId="{6861BCAD-DE42-4BC1-ACF4-14F23BA682BF}" type="pres">
      <dgm:prSet presAssocID="{E3642DD6-1F6B-43AA-9D67-2CF84888C750}" presName="Name18" presStyleLbl="sibTrans2D1" presStyleIdx="1" presStyleCnt="2"/>
      <dgm:spPr/>
      <dgm:t>
        <a:bodyPr/>
        <a:lstStyle/>
        <a:p>
          <a:endParaRPr lang="de-DE"/>
        </a:p>
      </dgm:t>
    </dgm:pt>
    <dgm:pt modelId="{0A91573E-A7A7-4CBB-8BCA-A62335804491}" type="pres">
      <dgm:prSet presAssocID="{19F480E7-F1A0-4DE0-8978-074DED21D435}" presName="composite1" presStyleCnt="0"/>
      <dgm:spPr/>
    </dgm:pt>
    <dgm:pt modelId="{35BF2434-D120-4F1E-91B4-19C267CD210F}" type="pres">
      <dgm:prSet presAssocID="{19F480E7-F1A0-4DE0-8978-074DED21D435}" presName="dummyNode1" presStyleLbl="node1" presStyleIdx="1" presStyleCnt="3"/>
      <dgm:spPr/>
    </dgm:pt>
    <dgm:pt modelId="{21AC5FF7-1AAA-4C2C-962E-B3C6EE613243}" type="pres">
      <dgm:prSet presAssocID="{19F480E7-F1A0-4DE0-8978-074DED21D435}" presName="childNode1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DC0960C-FE4F-461C-84F2-224DD3FDDD85}" type="pres">
      <dgm:prSet presAssocID="{19F480E7-F1A0-4DE0-8978-074DED21D435}" presName="childNode1tx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99699DA-C282-434C-8D58-B6E86BFB4860}" type="pres">
      <dgm:prSet presAssocID="{19F480E7-F1A0-4DE0-8978-074DED21D435}" presName="parentNode1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8083C54-280B-4834-8912-FE326C8D0BE4}" type="pres">
      <dgm:prSet presAssocID="{19F480E7-F1A0-4DE0-8978-074DED21D435}" presName="connSite1" presStyleCnt="0"/>
      <dgm:spPr/>
    </dgm:pt>
  </dgm:ptLst>
  <dgm:cxnLst>
    <dgm:cxn modelId="{C8E07205-84D7-4B7B-B87D-E30864606F99}" srcId="{19F480E7-F1A0-4DE0-8978-074DED21D435}" destId="{27B51D99-7A94-4E76-A341-80356EB4A05F}" srcOrd="3" destOrd="0" parTransId="{26C5FC4F-411C-4729-A073-FD295AB06A7A}" sibTransId="{47EDA791-7B38-4D93-9F52-9E1B2691EC1C}"/>
    <dgm:cxn modelId="{A14DCD76-676B-43C0-BC0B-5A16E89B0940}" type="presOf" srcId="{E6116EAE-791A-4FBB-9940-10479BAC3D3E}" destId="{21AC5FF7-1AAA-4C2C-962E-B3C6EE613243}" srcOrd="0" destOrd="1" presId="urn:microsoft.com/office/officeart/2005/8/layout/hProcess4"/>
    <dgm:cxn modelId="{717287C7-6E8F-4810-9EF3-C8B730A9EB30}" type="presOf" srcId="{4DC1ED2C-7CC6-4321-A9E2-D232A85DA891}" destId="{2DC0960C-FE4F-461C-84F2-224DD3FDDD85}" srcOrd="1" destOrd="2" presId="urn:microsoft.com/office/officeart/2005/8/layout/hProcess4"/>
    <dgm:cxn modelId="{FEB509FB-9D4A-43E6-8C43-E1BC86F507A0}" type="presOf" srcId="{9292FFF5-4783-4EB6-B7AC-0DEA0D632D0D}" destId="{FBE99C35-5B44-4C8B-B0F9-D14622292693}" srcOrd="1" destOrd="2" presId="urn:microsoft.com/office/officeart/2005/8/layout/hProcess4"/>
    <dgm:cxn modelId="{21DDD663-27F3-49CC-9ED5-80264E3CA914}" type="presOf" srcId="{02FC5717-8F33-435C-A443-4125A6E60485}" destId="{5439EF25-BEDD-4B5A-B567-E1403F8FEB8E}" srcOrd="0" destOrd="0" presId="urn:microsoft.com/office/officeart/2005/8/layout/hProcess4"/>
    <dgm:cxn modelId="{DA4C66B0-645E-4F29-A3EB-B6877506F79D}" type="presOf" srcId="{1D29E8D6-45C4-4766-9EE2-39073334B914}" destId="{5ED272A9-E92B-4719-96E4-A334C871DDEB}" srcOrd="0" destOrd="0" presId="urn:microsoft.com/office/officeart/2005/8/layout/hProcess4"/>
    <dgm:cxn modelId="{3CD8964E-2B3D-4FA2-99FC-D36F0BCA2EFF}" srcId="{F19DA64A-2C03-41E5-ADAA-C978F94A0AE1}" destId="{9787083E-A30F-4E27-92D4-E96F8A4B707E}" srcOrd="1" destOrd="0" parTransId="{071F18BC-ED4E-47F4-9B5A-813FFF2999AE}" sibTransId="{E3642DD6-1F6B-43AA-9D67-2CF84888C750}"/>
    <dgm:cxn modelId="{423EADB4-406D-4B5B-95D5-126907688837}" type="presOf" srcId="{E3642DD6-1F6B-43AA-9D67-2CF84888C750}" destId="{6861BCAD-DE42-4BC1-ACF4-14F23BA682BF}" srcOrd="0" destOrd="0" presId="urn:microsoft.com/office/officeart/2005/8/layout/hProcess4"/>
    <dgm:cxn modelId="{0F4E15C8-8911-478C-B108-4B5448AF1C5D}" type="presOf" srcId="{80CFA889-5351-4E28-8BE6-43BFAEE53451}" destId="{A0B49DD0-19A1-41EF-B0F5-8C14CBAC079E}" srcOrd="1" destOrd="1" presId="urn:microsoft.com/office/officeart/2005/8/layout/hProcess4"/>
    <dgm:cxn modelId="{B3980096-8C45-4A00-B5DD-E02920BBD47C}" type="presOf" srcId="{B8CBAB91-7886-47B2-AD4A-8B98871644A2}" destId="{7B116376-1966-411C-8846-0B561668FA8A}" srcOrd="0" destOrd="1" presId="urn:microsoft.com/office/officeart/2005/8/layout/hProcess4"/>
    <dgm:cxn modelId="{44A32511-F286-4B2A-AEF9-F12B4C3BEBF4}" srcId="{9787083E-A30F-4E27-92D4-E96F8A4B707E}" destId="{9292FFF5-4783-4EB6-B7AC-0DEA0D632D0D}" srcOrd="2" destOrd="0" parTransId="{E0F08E28-7195-4304-B5AA-2D3FD2353FF1}" sibTransId="{81C2313B-5C34-4B93-B9BC-3138408055B5}"/>
    <dgm:cxn modelId="{63AF54D6-5971-4156-B192-650455DEA683}" type="presOf" srcId="{19F480E7-F1A0-4DE0-8978-074DED21D435}" destId="{E99699DA-C282-434C-8D58-B6E86BFB4860}" srcOrd="0" destOrd="0" presId="urn:microsoft.com/office/officeart/2005/8/layout/hProcess4"/>
    <dgm:cxn modelId="{7848B4AD-40DE-4966-9B8E-1B2BD9A89DF6}" type="presOf" srcId="{E6116EAE-791A-4FBB-9940-10479BAC3D3E}" destId="{2DC0960C-FE4F-461C-84F2-224DD3FDDD85}" srcOrd="1" destOrd="1" presId="urn:microsoft.com/office/officeart/2005/8/layout/hProcess4"/>
    <dgm:cxn modelId="{463BDD31-6709-4D08-8210-0FAD10E93E59}" type="presOf" srcId="{60742F7F-B628-4896-B2D0-A5635FF38DF0}" destId="{7B116376-1966-411C-8846-0B561668FA8A}" srcOrd="0" destOrd="0" presId="urn:microsoft.com/office/officeart/2005/8/layout/hProcess4"/>
    <dgm:cxn modelId="{8B0402EE-CE9C-415A-B93B-E83C661010CC}" type="presOf" srcId="{3E636A7F-0F49-4561-9ECD-DBBDC8F2B2C1}" destId="{2DC0960C-FE4F-461C-84F2-224DD3FDDD85}" srcOrd="1" destOrd="0" presId="urn:microsoft.com/office/officeart/2005/8/layout/hProcess4"/>
    <dgm:cxn modelId="{96AC6063-D9BB-491F-AB1C-E5ED4C67D54C}" type="presOf" srcId="{80CFA889-5351-4E28-8BE6-43BFAEE53451}" destId="{FC4C6030-747E-48FD-A592-CF6DDA7519A4}" srcOrd="0" destOrd="1" presId="urn:microsoft.com/office/officeart/2005/8/layout/hProcess4"/>
    <dgm:cxn modelId="{A73EE3AF-1FD7-477A-BD96-58945079C6A5}" type="presOf" srcId="{B8CBAB91-7886-47B2-AD4A-8B98871644A2}" destId="{FBE99C35-5B44-4C8B-B0F9-D14622292693}" srcOrd="1" destOrd="1" presId="urn:microsoft.com/office/officeart/2005/8/layout/hProcess4"/>
    <dgm:cxn modelId="{598932E0-ADC3-4158-AEFF-32F97BDFC8DB}" type="presOf" srcId="{27B51D99-7A94-4E76-A341-80356EB4A05F}" destId="{21AC5FF7-1AAA-4C2C-962E-B3C6EE613243}" srcOrd="0" destOrd="3" presId="urn:microsoft.com/office/officeart/2005/8/layout/hProcess4"/>
    <dgm:cxn modelId="{787EEC74-2E81-42DC-825F-A188EDB99984}" type="presOf" srcId="{9787083E-A30F-4E27-92D4-E96F8A4B707E}" destId="{1A97D153-61A1-4F22-9B68-9BB314807883}" srcOrd="0" destOrd="0" presId="urn:microsoft.com/office/officeart/2005/8/layout/hProcess4"/>
    <dgm:cxn modelId="{D126275E-B847-41B2-8587-2F2CA4851676}" type="presOf" srcId="{9292FFF5-4783-4EB6-B7AC-0DEA0D632D0D}" destId="{7B116376-1966-411C-8846-0B561668FA8A}" srcOrd="0" destOrd="2" presId="urn:microsoft.com/office/officeart/2005/8/layout/hProcess4"/>
    <dgm:cxn modelId="{3ADC3AA8-E468-455A-B225-99A699E7D6D0}" type="presOf" srcId="{27B51D99-7A94-4E76-A341-80356EB4A05F}" destId="{2DC0960C-FE4F-461C-84F2-224DD3FDDD85}" srcOrd="1" destOrd="3" presId="urn:microsoft.com/office/officeart/2005/8/layout/hProcess4"/>
    <dgm:cxn modelId="{16A77C45-8F0B-4E37-830C-AFB95DFA566B}" srcId="{F19DA64A-2C03-41E5-ADAA-C978F94A0AE1}" destId="{1D29E8D6-45C4-4766-9EE2-39073334B914}" srcOrd="0" destOrd="0" parTransId="{A17B8255-C898-4D61-90BB-4369F547F9EE}" sibTransId="{02FC5717-8F33-435C-A443-4125A6E60485}"/>
    <dgm:cxn modelId="{A5C71D9B-1C58-4FA8-9585-6B85B3300973}" srcId="{19F480E7-F1A0-4DE0-8978-074DED21D435}" destId="{E6116EAE-791A-4FBB-9940-10479BAC3D3E}" srcOrd="1" destOrd="0" parTransId="{DB0B1903-6A42-499D-9662-BBEC995E1659}" sibTransId="{B276290D-A249-46AA-86CF-371B89BC6C3D}"/>
    <dgm:cxn modelId="{A2FC34C5-2A36-4E8F-A2DC-7F7DA5C1854B}" srcId="{19F480E7-F1A0-4DE0-8978-074DED21D435}" destId="{3E636A7F-0F49-4561-9ECD-DBBDC8F2B2C1}" srcOrd="0" destOrd="0" parTransId="{3BB35E21-76D2-413F-954B-DF2575851051}" sibTransId="{09E76BA2-3781-44ED-8ABD-4CB42F55A664}"/>
    <dgm:cxn modelId="{017BBC1B-1FFA-4F13-82BB-E4FBD0C915A0}" type="presOf" srcId="{3E636A7F-0F49-4561-9ECD-DBBDC8F2B2C1}" destId="{21AC5FF7-1AAA-4C2C-962E-B3C6EE613243}" srcOrd="0" destOrd="0" presId="urn:microsoft.com/office/officeart/2005/8/layout/hProcess4"/>
    <dgm:cxn modelId="{F2D25610-4580-4EC1-856B-EDDC730EC060}" type="presOf" srcId="{60742F7F-B628-4896-B2D0-A5635FF38DF0}" destId="{FBE99C35-5B44-4C8B-B0F9-D14622292693}" srcOrd="1" destOrd="0" presId="urn:microsoft.com/office/officeart/2005/8/layout/hProcess4"/>
    <dgm:cxn modelId="{4C03B5AE-9A2B-4FE4-8341-B655E16B70F1}" srcId="{1D29E8D6-45C4-4766-9EE2-39073334B914}" destId="{D9B18B51-5DB5-45F7-8D85-19BFDAE7EE70}" srcOrd="0" destOrd="0" parTransId="{C2D7CCD1-061C-4F05-BFC4-43ADD398DDB7}" sibTransId="{CD141744-A1A3-4A5D-B661-8D7E73DEE3C1}"/>
    <dgm:cxn modelId="{A23CA1FC-A80C-45B1-B7B1-6D5C3F31427B}" type="presOf" srcId="{F19DA64A-2C03-41E5-ADAA-C978F94A0AE1}" destId="{6A8D4F1F-5512-45A1-AD1D-4E159C394BA1}" srcOrd="0" destOrd="0" presId="urn:microsoft.com/office/officeart/2005/8/layout/hProcess4"/>
    <dgm:cxn modelId="{89CFE607-364A-4F62-B245-E2C8A556CA6E}" srcId="{9787083E-A30F-4E27-92D4-E96F8A4B707E}" destId="{B8CBAB91-7886-47B2-AD4A-8B98871644A2}" srcOrd="1" destOrd="0" parTransId="{415F4158-40E6-4707-8FB7-C5B5541C5015}" sibTransId="{B4ABF896-9851-4F69-9A37-D9EFE9604299}"/>
    <dgm:cxn modelId="{9C87F484-66A6-4525-A514-3409E5EFB8BC}" type="presOf" srcId="{4DC1ED2C-7CC6-4321-A9E2-D232A85DA891}" destId="{21AC5FF7-1AAA-4C2C-962E-B3C6EE613243}" srcOrd="0" destOrd="2" presId="urn:microsoft.com/office/officeart/2005/8/layout/hProcess4"/>
    <dgm:cxn modelId="{D3818F5D-5E4C-4D74-9151-3736FB0586E2}" srcId="{19F480E7-F1A0-4DE0-8978-074DED21D435}" destId="{4DC1ED2C-7CC6-4321-A9E2-D232A85DA891}" srcOrd="2" destOrd="0" parTransId="{B8680361-B7EF-4FC5-9E11-5AA73D69F7A4}" sibTransId="{D425DC95-A17C-4AD9-9F71-4BC57F587582}"/>
    <dgm:cxn modelId="{C0C0D415-0405-4D26-8BCC-AFB5CFFA7A06}" type="presOf" srcId="{D9B18B51-5DB5-45F7-8D85-19BFDAE7EE70}" destId="{A0B49DD0-19A1-41EF-B0F5-8C14CBAC079E}" srcOrd="1" destOrd="0" presId="urn:microsoft.com/office/officeart/2005/8/layout/hProcess4"/>
    <dgm:cxn modelId="{7F02E8C2-9529-4577-872F-03D2FC78355A}" type="presOf" srcId="{D9B18B51-5DB5-45F7-8D85-19BFDAE7EE70}" destId="{FC4C6030-747E-48FD-A592-CF6DDA7519A4}" srcOrd="0" destOrd="0" presId="urn:microsoft.com/office/officeart/2005/8/layout/hProcess4"/>
    <dgm:cxn modelId="{F0EF9E97-ABBE-4191-BBDC-BF3796866ABE}" srcId="{F19DA64A-2C03-41E5-ADAA-C978F94A0AE1}" destId="{19F480E7-F1A0-4DE0-8978-074DED21D435}" srcOrd="2" destOrd="0" parTransId="{D5701790-9397-4634-9155-24EF73E13E6C}" sibTransId="{2CF72959-CC85-4375-9DEF-CCC9934239AC}"/>
    <dgm:cxn modelId="{79375B53-1021-4279-982A-35AFEBF2982D}" srcId="{1D29E8D6-45C4-4766-9EE2-39073334B914}" destId="{80CFA889-5351-4E28-8BE6-43BFAEE53451}" srcOrd="1" destOrd="0" parTransId="{3B470D06-755A-4FDC-AECA-3A9994C7AFD9}" sibTransId="{3BA148EF-6FCE-4690-8755-958962BB541A}"/>
    <dgm:cxn modelId="{0FC9EA78-C4DA-4E62-A987-D52BE3F1C341}" srcId="{9787083E-A30F-4E27-92D4-E96F8A4B707E}" destId="{60742F7F-B628-4896-B2D0-A5635FF38DF0}" srcOrd="0" destOrd="0" parTransId="{AC6F52CB-33BD-46BB-B45A-EAFB48C857E6}" sibTransId="{F567A1C8-8C6B-4352-8AAD-A76402D34BBB}"/>
    <dgm:cxn modelId="{9FDFA14D-5D05-49F6-A11A-91897794E0F7}" type="presParOf" srcId="{6A8D4F1F-5512-45A1-AD1D-4E159C394BA1}" destId="{CCD9565E-1852-4360-A641-BE1DC38AC425}" srcOrd="0" destOrd="0" presId="urn:microsoft.com/office/officeart/2005/8/layout/hProcess4"/>
    <dgm:cxn modelId="{63E6C4C7-58E9-428C-9812-A1FEAEA4112F}" type="presParOf" srcId="{6A8D4F1F-5512-45A1-AD1D-4E159C394BA1}" destId="{753F4ABC-934F-494A-B25B-D9B14B57463C}" srcOrd="1" destOrd="0" presId="urn:microsoft.com/office/officeart/2005/8/layout/hProcess4"/>
    <dgm:cxn modelId="{BA5E993D-0BBD-4009-8114-BF2F433757E2}" type="presParOf" srcId="{6A8D4F1F-5512-45A1-AD1D-4E159C394BA1}" destId="{1FA998D9-8B6E-488B-ACC6-F55F325F0DC2}" srcOrd="2" destOrd="0" presId="urn:microsoft.com/office/officeart/2005/8/layout/hProcess4"/>
    <dgm:cxn modelId="{5A9BECA0-5C70-483B-B322-DB86AE46C0CA}" type="presParOf" srcId="{1FA998D9-8B6E-488B-ACC6-F55F325F0DC2}" destId="{8914166E-3DD8-47F8-AA1D-B53368C7A82D}" srcOrd="0" destOrd="0" presId="urn:microsoft.com/office/officeart/2005/8/layout/hProcess4"/>
    <dgm:cxn modelId="{3D315235-3254-418E-B510-2F34DC14BEFC}" type="presParOf" srcId="{8914166E-3DD8-47F8-AA1D-B53368C7A82D}" destId="{736A157F-6561-4D5B-8408-E189E88281F2}" srcOrd="0" destOrd="0" presId="urn:microsoft.com/office/officeart/2005/8/layout/hProcess4"/>
    <dgm:cxn modelId="{AC4B6FDE-BBF5-4B73-A35E-1766DD9A1CBE}" type="presParOf" srcId="{8914166E-3DD8-47F8-AA1D-B53368C7A82D}" destId="{FC4C6030-747E-48FD-A592-CF6DDA7519A4}" srcOrd="1" destOrd="0" presId="urn:microsoft.com/office/officeart/2005/8/layout/hProcess4"/>
    <dgm:cxn modelId="{6317E6B3-7F89-4318-B091-CE6CA1C0E4C7}" type="presParOf" srcId="{8914166E-3DD8-47F8-AA1D-B53368C7A82D}" destId="{A0B49DD0-19A1-41EF-B0F5-8C14CBAC079E}" srcOrd="2" destOrd="0" presId="urn:microsoft.com/office/officeart/2005/8/layout/hProcess4"/>
    <dgm:cxn modelId="{DBF2C75D-B43D-40BE-946A-27857D11DF80}" type="presParOf" srcId="{8914166E-3DD8-47F8-AA1D-B53368C7A82D}" destId="{5ED272A9-E92B-4719-96E4-A334C871DDEB}" srcOrd="3" destOrd="0" presId="urn:microsoft.com/office/officeart/2005/8/layout/hProcess4"/>
    <dgm:cxn modelId="{69458C68-AD1D-4F22-8973-E4FDAE8AA9D1}" type="presParOf" srcId="{8914166E-3DD8-47F8-AA1D-B53368C7A82D}" destId="{6AC715AD-8C45-45B6-98E6-935CC74C611D}" srcOrd="4" destOrd="0" presId="urn:microsoft.com/office/officeart/2005/8/layout/hProcess4"/>
    <dgm:cxn modelId="{9AADF65E-0E01-41E0-87AB-44B38584D4F2}" type="presParOf" srcId="{1FA998D9-8B6E-488B-ACC6-F55F325F0DC2}" destId="{5439EF25-BEDD-4B5A-B567-E1403F8FEB8E}" srcOrd="1" destOrd="0" presId="urn:microsoft.com/office/officeart/2005/8/layout/hProcess4"/>
    <dgm:cxn modelId="{1212B828-B4D9-4E7E-95B9-994D001B3B83}" type="presParOf" srcId="{1FA998D9-8B6E-488B-ACC6-F55F325F0DC2}" destId="{D2B376CC-0DB2-4366-A247-DA9A20DC3EEE}" srcOrd="2" destOrd="0" presId="urn:microsoft.com/office/officeart/2005/8/layout/hProcess4"/>
    <dgm:cxn modelId="{750EB72C-AF6C-4DBC-B0CB-D0FBB8A6158E}" type="presParOf" srcId="{D2B376CC-0DB2-4366-A247-DA9A20DC3EEE}" destId="{3A589F14-FD66-4AB0-9E4A-3100F9FD4128}" srcOrd="0" destOrd="0" presId="urn:microsoft.com/office/officeart/2005/8/layout/hProcess4"/>
    <dgm:cxn modelId="{E9A7C099-A836-437E-BD0B-42B49EAB7A50}" type="presParOf" srcId="{D2B376CC-0DB2-4366-A247-DA9A20DC3EEE}" destId="{7B116376-1966-411C-8846-0B561668FA8A}" srcOrd="1" destOrd="0" presId="urn:microsoft.com/office/officeart/2005/8/layout/hProcess4"/>
    <dgm:cxn modelId="{1295023A-5A5C-47B0-8B30-D7379CD023EB}" type="presParOf" srcId="{D2B376CC-0DB2-4366-A247-DA9A20DC3EEE}" destId="{FBE99C35-5B44-4C8B-B0F9-D14622292693}" srcOrd="2" destOrd="0" presId="urn:microsoft.com/office/officeart/2005/8/layout/hProcess4"/>
    <dgm:cxn modelId="{DEDA367D-98C3-46CF-9E3A-64C1F8AAC228}" type="presParOf" srcId="{D2B376CC-0DB2-4366-A247-DA9A20DC3EEE}" destId="{1A97D153-61A1-4F22-9B68-9BB314807883}" srcOrd="3" destOrd="0" presId="urn:microsoft.com/office/officeart/2005/8/layout/hProcess4"/>
    <dgm:cxn modelId="{3C37CEBA-E6AF-4277-B6BB-CC6AAFF293DF}" type="presParOf" srcId="{D2B376CC-0DB2-4366-A247-DA9A20DC3EEE}" destId="{BBCCE621-BDDB-4947-890B-BA7E088A1A65}" srcOrd="4" destOrd="0" presId="urn:microsoft.com/office/officeart/2005/8/layout/hProcess4"/>
    <dgm:cxn modelId="{98B890F1-8635-4DEF-BECA-19B97709A210}" type="presParOf" srcId="{1FA998D9-8B6E-488B-ACC6-F55F325F0DC2}" destId="{6861BCAD-DE42-4BC1-ACF4-14F23BA682BF}" srcOrd="3" destOrd="0" presId="urn:microsoft.com/office/officeart/2005/8/layout/hProcess4"/>
    <dgm:cxn modelId="{CB25E9BB-71AD-460B-9F4C-FAF0FCFBE4DE}" type="presParOf" srcId="{1FA998D9-8B6E-488B-ACC6-F55F325F0DC2}" destId="{0A91573E-A7A7-4CBB-8BCA-A62335804491}" srcOrd="4" destOrd="0" presId="urn:microsoft.com/office/officeart/2005/8/layout/hProcess4"/>
    <dgm:cxn modelId="{DB99DE34-9865-4768-8465-5401E29F7A81}" type="presParOf" srcId="{0A91573E-A7A7-4CBB-8BCA-A62335804491}" destId="{35BF2434-D120-4F1E-91B4-19C267CD210F}" srcOrd="0" destOrd="0" presId="urn:microsoft.com/office/officeart/2005/8/layout/hProcess4"/>
    <dgm:cxn modelId="{2A7E8A7F-CA61-49C0-94C1-7B31FCF3D511}" type="presParOf" srcId="{0A91573E-A7A7-4CBB-8BCA-A62335804491}" destId="{21AC5FF7-1AAA-4C2C-962E-B3C6EE613243}" srcOrd="1" destOrd="0" presId="urn:microsoft.com/office/officeart/2005/8/layout/hProcess4"/>
    <dgm:cxn modelId="{BABEDE95-2658-4328-ADB7-B7663EB39976}" type="presParOf" srcId="{0A91573E-A7A7-4CBB-8BCA-A62335804491}" destId="{2DC0960C-FE4F-461C-84F2-224DD3FDDD85}" srcOrd="2" destOrd="0" presId="urn:microsoft.com/office/officeart/2005/8/layout/hProcess4"/>
    <dgm:cxn modelId="{FDB45965-CBCA-4338-AFBF-869449A9B5D3}" type="presParOf" srcId="{0A91573E-A7A7-4CBB-8BCA-A62335804491}" destId="{E99699DA-C282-434C-8D58-B6E86BFB4860}" srcOrd="3" destOrd="0" presId="urn:microsoft.com/office/officeart/2005/8/layout/hProcess4"/>
    <dgm:cxn modelId="{4C0C6942-9C1D-4DE6-95B0-7BE23F04459D}" type="presParOf" srcId="{0A91573E-A7A7-4CBB-8BCA-A62335804491}" destId="{98083C54-280B-4834-8912-FE326C8D0BE4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4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chemeClr val="tx2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3B1717E5-3502-4124-9353-CB2038BE1A6D}" type="presOf" srcId="{EB61DA86-9B86-4759-822E-DA32F7AA073E}" destId="{135DB1F4-89C2-4733-9521-42FD5CECF10C}" srcOrd="0" destOrd="0" presId="urn:microsoft.com/office/officeart/2005/8/layout/chevron1"/>
    <dgm:cxn modelId="{B83351FB-DB92-44A0-BA16-92A84E534509}" type="presOf" srcId="{D0C25FB2-BCD9-40F2-AD7D-9958175F77A4}" destId="{3E9602A8-0A34-4630-A972-81E39BB9FA5D}" srcOrd="0" destOrd="0" presId="urn:microsoft.com/office/officeart/2005/8/layout/chevron1"/>
    <dgm:cxn modelId="{3963E38F-AA35-4919-B93C-25E87D0485AA}" type="presOf" srcId="{D14807FD-294C-4482-91EE-34C09B13669A}" destId="{BCE275B7-D1E9-4183-BABE-507E54E1C931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99D85355-0424-4BDA-8689-FF0A581849FC}" type="presOf" srcId="{9C869D94-BD20-4CF6-9CAA-58E706B950F6}" destId="{0AECE453-CE2A-473C-BD27-70D00DA5B95C}" srcOrd="0" destOrd="0" presId="urn:microsoft.com/office/officeart/2005/8/layout/chevron1"/>
    <dgm:cxn modelId="{EFBE0A3D-4E64-42A0-862B-1D88D65BCC60}" type="presOf" srcId="{F351D095-D2C1-4F62-A18D-EFB4BA6E2AA9}" destId="{6BF66C9A-92D4-481D-A538-FD1A4E3DC0D5}" srcOrd="0" destOrd="0" presId="urn:microsoft.com/office/officeart/2005/8/layout/chevron1"/>
    <dgm:cxn modelId="{B583BD1D-D4D2-4DFE-AC7B-EC0A41A5B58A}" type="presParOf" srcId="{0AECE453-CE2A-473C-BD27-70D00DA5B95C}" destId="{135DB1F4-89C2-4733-9521-42FD5CECF10C}" srcOrd="0" destOrd="0" presId="urn:microsoft.com/office/officeart/2005/8/layout/chevron1"/>
    <dgm:cxn modelId="{65AD4845-0A0D-4842-B6A9-DDEEA749A219}" type="presParOf" srcId="{0AECE453-CE2A-473C-BD27-70D00DA5B95C}" destId="{E1C76734-9ABE-473C-AD4C-C4BF49F91E97}" srcOrd="1" destOrd="0" presId="urn:microsoft.com/office/officeart/2005/8/layout/chevron1"/>
    <dgm:cxn modelId="{1BF76A8A-458D-4C79-B5C3-8E09D2FF76BE}" type="presParOf" srcId="{0AECE453-CE2A-473C-BD27-70D00DA5B95C}" destId="{6BF66C9A-92D4-481D-A538-FD1A4E3DC0D5}" srcOrd="2" destOrd="0" presId="urn:microsoft.com/office/officeart/2005/8/layout/chevron1"/>
    <dgm:cxn modelId="{CDD009CD-1316-4AB0-9DCB-B1D0F4772F36}" type="presParOf" srcId="{0AECE453-CE2A-473C-BD27-70D00DA5B95C}" destId="{691CB221-7DD5-49BE-AC21-301798066F30}" srcOrd="3" destOrd="0" presId="urn:microsoft.com/office/officeart/2005/8/layout/chevron1"/>
    <dgm:cxn modelId="{4D555308-82F2-4A3B-9023-95F6BFB72C13}" type="presParOf" srcId="{0AECE453-CE2A-473C-BD27-70D00DA5B95C}" destId="{3E9602A8-0A34-4630-A972-81E39BB9FA5D}" srcOrd="4" destOrd="0" presId="urn:microsoft.com/office/officeart/2005/8/layout/chevron1"/>
    <dgm:cxn modelId="{5F59CB5B-9571-4846-8E44-D686FA1B9297}" type="presParOf" srcId="{0AECE453-CE2A-473C-BD27-70D00DA5B95C}" destId="{D0B9A118-173B-40DB-89B8-9F21FF5432C9}" srcOrd="5" destOrd="0" presId="urn:microsoft.com/office/officeart/2005/8/layout/chevron1"/>
    <dgm:cxn modelId="{BD483B6D-54E1-4DA5-B319-D9DBE7A47BCF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4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chemeClr val="tx2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C7512869-DF47-471D-A2AD-9E91C5C82BF2}" type="presOf" srcId="{F351D095-D2C1-4F62-A18D-EFB4BA6E2AA9}" destId="{6BF66C9A-92D4-481D-A538-FD1A4E3DC0D5}" srcOrd="0" destOrd="0" presId="urn:microsoft.com/office/officeart/2005/8/layout/chevron1"/>
    <dgm:cxn modelId="{E64C5DDA-95CE-4948-8B37-EE248C132BDF}" type="presOf" srcId="{9C869D94-BD20-4CF6-9CAA-58E706B950F6}" destId="{0AECE453-CE2A-473C-BD27-70D00DA5B95C}" srcOrd="0" destOrd="0" presId="urn:microsoft.com/office/officeart/2005/8/layout/chevron1"/>
    <dgm:cxn modelId="{D16A492F-4896-4D24-9D82-834A31FFBA13}" type="presOf" srcId="{D14807FD-294C-4482-91EE-34C09B13669A}" destId="{BCE275B7-D1E9-4183-BABE-507E54E1C931}" srcOrd="0" destOrd="0" presId="urn:microsoft.com/office/officeart/2005/8/layout/chevron1"/>
    <dgm:cxn modelId="{289389D4-A221-4A6C-BAA4-96555D469027}" type="presOf" srcId="{D0C25FB2-BCD9-40F2-AD7D-9958175F77A4}" destId="{3E9602A8-0A34-4630-A972-81E39BB9FA5D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DC731D71-3EDA-49F4-9CFF-57127B62EC5F}" type="presOf" srcId="{EB61DA86-9B86-4759-822E-DA32F7AA073E}" destId="{135DB1F4-89C2-4733-9521-42FD5CECF10C}" srcOrd="0" destOrd="0" presId="urn:microsoft.com/office/officeart/2005/8/layout/chevron1"/>
    <dgm:cxn modelId="{BAC9967D-6ED4-4D0D-9982-B75CD3A66EB2}" type="presParOf" srcId="{0AECE453-CE2A-473C-BD27-70D00DA5B95C}" destId="{135DB1F4-89C2-4733-9521-42FD5CECF10C}" srcOrd="0" destOrd="0" presId="urn:microsoft.com/office/officeart/2005/8/layout/chevron1"/>
    <dgm:cxn modelId="{8536FB30-E729-47D7-B1C6-7350097D6EC7}" type="presParOf" srcId="{0AECE453-CE2A-473C-BD27-70D00DA5B95C}" destId="{E1C76734-9ABE-473C-AD4C-C4BF49F91E97}" srcOrd="1" destOrd="0" presId="urn:microsoft.com/office/officeart/2005/8/layout/chevron1"/>
    <dgm:cxn modelId="{142B5BC2-ACCF-476F-87B7-4153CE0D8DA6}" type="presParOf" srcId="{0AECE453-CE2A-473C-BD27-70D00DA5B95C}" destId="{6BF66C9A-92D4-481D-A538-FD1A4E3DC0D5}" srcOrd="2" destOrd="0" presId="urn:microsoft.com/office/officeart/2005/8/layout/chevron1"/>
    <dgm:cxn modelId="{FAAE24CB-81A4-43C7-9A58-D57AA37C2B30}" type="presParOf" srcId="{0AECE453-CE2A-473C-BD27-70D00DA5B95C}" destId="{691CB221-7DD5-49BE-AC21-301798066F30}" srcOrd="3" destOrd="0" presId="urn:microsoft.com/office/officeart/2005/8/layout/chevron1"/>
    <dgm:cxn modelId="{822E6609-0FB6-4E2A-BF49-E695283389B4}" type="presParOf" srcId="{0AECE453-CE2A-473C-BD27-70D00DA5B95C}" destId="{3E9602A8-0A34-4630-A972-81E39BB9FA5D}" srcOrd="4" destOrd="0" presId="urn:microsoft.com/office/officeart/2005/8/layout/chevron1"/>
    <dgm:cxn modelId="{38517A36-92CC-43A2-8419-7F064450457D}" type="presParOf" srcId="{0AECE453-CE2A-473C-BD27-70D00DA5B95C}" destId="{D0B9A118-173B-40DB-89B8-9F21FF5432C9}" srcOrd="5" destOrd="0" presId="urn:microsoft.com/office/officeart/2005/8/layout/chevron1"/>
    <dgm:cxn modelId="{93C23B43-174F-4DA1-B167-6B959191C287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4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chemeClr val="tx2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F09F9CCB-D440-4411-8C2D-748AF4C3EA8B}" type="presOf" srcId="{F351D095-D2C1-4F62-A18D-EFB4BA6E2AA9}" destId="{6BF66C9A-92D4-481D-A538-FD1A4E3DC0D5}" srcOrd="0" destOrd="0" presId="urn:microsoft.com/office/officeart/2005/8/layout/chevron1"/>
    <dgm:cxn modelId="{52B2BA5D-E3D8-4B97-881E-48F840A7D0C3}" type="presOf" srcId="{EB61DA86-9B86-4759-822E-DA32F7AA073E}" destId="{135DB1F4-89C2-4733-9521-42FD5CECF10C}" srcOrd="0" destOrd="0" presId="urn:microsoft.com/office/officeart/2005/8/layout/chevron1"/>
    <dgm:cxn modelId="{3BA3C4F5-078B-4D55-8FCB-C7D5C24550A6}" type="presOf" srcId="{9C869D94-BD20-4CF6-9CAA-58E706B950F6}" destId="{0AECE453-CE2A-473C-BD27-70D00DA5B95C}" srcOrd="0" destOrd="0" presId="urn:microsoft.com/office/officeart/2005/8/layout/chevron1"/>
    <dgm:cxn modelId="{5ADEAEE9-DAD8-4D6B-B796-BB1ED0C7FE99}" type="presOf" srcId="{D0C25FB2-BCD9-40F2-AD7D-9958175F77A4}" destId="{3E9602A8-0A34-4630-A972-81E39BB9FA5D}" srcOrd="0" destOrd="0" presId="urn:microsoft.com/office/officeart/2005/8/layout/chevron1"/>
    <dgm:cxn modelId="{7A9A3939-9A0B-431C-B140-6C44B7D36ECF}" type="presOf" srcId="{D14807FD-294C-4482-91EE-34C09B13669A}" destId="{BCE275B7-D1E9-4183-BABE-507E54E1C931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1D6881E0-6C26-4BD4-819B-B44FF32D998A}" type="presParOf" srcId="{0AECE453-CE2A-473C-BD27-70D00DA5B95C}" destId="{135DB1F4-89C2-4733-9521-42FD5CECF10C}" srcOrd="0" destOrd="0" presId="urn:microsoft.com/office/officeart/2005/8/layout/chevron1"/>
    <dgm:cxn modelId="{42067969-0B94-49F7-83CF-218DAC93FDEF}" type="presParOf" srcId="{0AECE453-CE2A-473C-BD27-70D00DA5B95C}" destId="{E1C76734-9ABE-473C-AD4C-C4BF49F91E97}" srcOrd="1" destOrd="0" presId="urn:microsoft.com/office/officeart/2005/8/layout/chevron1"/>
    <dgm:cxn modelId="{BBC79763-8296-45F6-9529-14B9F96A495A}" type="presParOf" srcId="{0AECE453-CE2A-473C-BD27-70D00DA5B95C}" destId="{6BF66C9A-92D4-481D-A538-FD1A4E3DC0D5}" srcOrd="2" destOrd="0" presId="urn:microsoft.com/office/officeart/2005/8/layout/chevron1"/>
    <dgm:cxn modelId="{10CDA093-AC67-44A0-90E5-77A54610E0B2}" type="presParOf" srcId="{0AECE453-CE2A-473C-BD27-70D00DA5B95C}" destId="{691CB221-7DD5-49BE-AC21-301798066F30}" srcOrd="3" destOrd="0" presId="urn:microsoft.com/office/officeart/2005/8/layout/chevron1"/>
    <dgm:cxn modelId="{FF27BF07-780F-4FDE-9FB9-96C20699C22C}" type="presParOf" srcId="{0AECE453-CE2A-473C-BD27-70D00DA5B95C}" destId="{3E9602A8-0A34-4630-A972-81E39BB9FA5D}" srcOrd="4" destOrd="0" presId="urn:microsoft.com/office/officeart/2005/8/layout/chevron1"/>
    <dgm:cxn modelId="{A937E66D-D141-4391-9056-389D95C06ACA}" type="presParOf" srcId="{0AECE453-CE2A-473C-BD27-70D00DA5B95C}" destId="{D0B9A118-173B-40DB-89B8-9F21FF5432C9}" srcOrd="5" destOrd="0" presId="urn:microsoft.com/office/officeart/2005/8/layout/chevron1"/>
    <dgm:cxn modelId="{34A32DD3-7740-4F27-A6FD-BBCFBDC72071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4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chemeClr val="bg1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>
        <a:solidFill>
          <a:schemeClr val="tx2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D39D74E-C3F9-41BE-A065-E507C12CD22F}" type="presOf" srcId="{D14807FD-294C-4482-91EE-34C09B13669A}" destId="{BCE275B7-D1E9-4183-BABE-507E54E1C931}" srcOrd="0" destOrd="0" presId="urn:microsoft.com/office/officeart/2005/8/layout/chevron1"/>
    <dgm:cxn modelId="{7B78A484-1F7F-43E7-B505-8D7C6C2CD5CE}" type="presOf" srcId="{F351D095-D2C1-4F62-A18D-EFB4BA6E2AA9}" destId="{6BF66C9A-92D4-481D-A538-FD1A4E3DC0D5}" srcOrd="0" destOrd="0" presId="urn:microsoft.com/office/officeart/2005/8/layout/chevron1"/>
    <dgm:cxn modelId="{BD92588B-F0DB-4C49-A49A-3C009AEC3E45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86B97193-C2C2-458B-B18A-B7E80D411F5B}" type="presOf" srcId="{D0C25FB2-BCD9-40F2-AD7D-9958175F77A4}" destId="{3E9602A8-0A34-4630-A972-81E39BB9FA5D}" srcOrd="0" destOrd="0" presId="urn:microsoft.com/office/officeart/2005/8/layout/chevron1"/>
    <dgm:cxn modelId="{006AE101-E7DF-41E0-818D-58FF4AE0B375}" type="presOf" srcId="{EB61DA86-9B86-4759-822E-DA32F7AA073E}" destId="{135DB1F4-89C2-4733-9521-42FD5CECF10C}" srcOrd="0" destOrd="0" presId="urn:microsoft.com/office/officeart/2005/8/layout/chevron1"/>
    <dgm:cxn modelId="{1C4E572D-B695-4084-BDF1-3FAAB00ACE74}" type="presParOf" srcId="{0AECE453-CE2A-473C-BD27-70D00DA5B95C}" destId="{135DB1F4-89C2-4733-9521-42FD5CECF10C}" srcOrd="0" destOrd="0" presId="urn:microsoft.com/office/officeart/2005/8/layout/chevron1"/>
    <dgm:cxn modelId="{9EBFEC4D-E350-4B7F-ADDB-95FE13FC5E03}" type="presParOf" srcId="{0AECE453-CE2A-473C-BD27-70D00DA5B95C}" destId="{E1C76734-9ABE-473C-AD4C-C4BF49F91E97}" srcOrd="1" destOrd="0" presId="urn:microsoft.com/office/officeart/2005/8/layout/chevron1"/>
    <dgm:cxn modelId="{FF45EC91-185C-4F0C-829E-76BD406630A2}" type="presParOf" srcId="{0AECE453-CE2A-473C-BD27-70D00DA5B95C}" destId="{6BF66C9A-92D4-481D-A538-FD1A4E3DC0D5}" srcOrd="2" destOrd="0" presId="urn:microsoft.com/office/officeart/2005/8/layout/chevron1"/>
    <dgm:cxn modelId="{1F478C37-79E9-4B74-8025-92B1FE85F3F9}" type="presParOf" srcId="{0AECE453-CE2A-473C-BD27-70D00DA5B95C}" destId="{691CB221-7DD5-49BE-AC21-301798066F30}" srcOrd="3" destOrd="0" presId="urn:microsoft.com/office/officeart/2005/8/layout/chevron1"/>
    <dgm:cxn modelId="{D37F7B43-5EDD-4DEF-ABDD-194513E4FBB7}" type="presParOf" srcId="{0AECE453-CE2A-473C-BD27-70D00DA5B95C}" destId="{3E9602A8-0A34-4630-A972-81E39BB9FA5D}" srcOrd="4" destOrd="0" presId="urn:microsoft.com/office/officeart/2005/8/layout/chevron1"/>
    <dgm:cxn modelId="{1F9B6D74-2AFF-4D38-81A8-97A918A63C68}" type="presParOf" srcId="{0AECE453-CE2A-473C-BD27-70D00DA5B95C}" destId="{D0B9A118-173B-40DB-89B8-9F21FF5432C9}" srcOrd="5" destOrd="0" presId="urn:microsoft.com/office/officeart/2005/8/layout/chevron1"/>
    <dgm:cxn modelId="{2235EB2D-B93A-4B23-BA76-5ECAC8711CD2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0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C954CEC6-D6DD-4AD5-B1BE-F4C362F708A5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375BE85D-703A-4153-B3A9-B7ECDAE63A3E}">
      <dgm:prSet phldrT="[Text]">
        <dgm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dgm:style>
      </dgm:prSet>
      <dgm:spPr>
        <a:solidFill>
          <a:schemeClr val="tx1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endParaRPr lang="de-DE" b="1" dirty="0" smtClean="0">
            <a:solidFill>
              <a:schemeClr val="bg1"/>
            </a:solidFill>
          </a:endParaRPr>
        </a:p>
      </dgm:t>
    </dgm:pt>
    <dgm:pt modelId="{06BFAC52-B8D5-4E76-99F3-FEC15BEB0EE7}" type="parTrans" cxnId="{E0E09A5B-DCCB-4306-8C6C-194F3FBBF91D}">
      <dgm:prSet/>
      <dgm:spPr/>
      <dgm:t>
        <a:bodyPr/>
        <a:lstStyle/>
        <a:p>
          <a:endParaRPr lang="de-DE"/>
        </a:p>
      </dgm:t>
    </dgm:pt>
    <dgm:pt modelId="{D488621D-67A8-4353-921A-741343674690}" type="sibTrans" cxnId="{E0E09A5B-DCCB-4306-8C6C-194F3FBBF91D}">
      <dgm:prSet/>
      <dgm:spPr/>
      <dgm:t>
        <a:bodyPr/>
        <a:lstStyle/>
        <a:p>
          <a:endParaRPr lang="de-DE"/>
        </a:p>
      </dgm:t>
    </dgm:pt>
    <dgm:pt modelId="{0A240859-8B98-4BE6-95B6-2FD30530FEE4}" type="pres">
      <dgm:prSet presAssocID="{C954CEC6-D6DD-4AD5-B1BE-F4C362F708A5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9D7791F-105A-4F01-86CE-28F0799E1AAF}" type="pres">
      <dgm:prSet presAssocID="{375BE85D-703A-4153-B3A9-B7ECDAE63A3E}" presName="node" presStyleLbl="node1" presStyleIdx="0" presStyleCnt="1" custScaleX="100638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E0E09A5B-DCCB-4306-8C6C-194F3FBBF91D}" srcId="{C954CEC6-D6DD-4AD5-B1BE-F4C362F708A5}" destId="{375BE85D-703A-4153-B3A9-B7ECDAE63A3E}" srcOrd="0" destOrd="0" parTransId="{06BFAC52-B8D5-4E76-99F3-FEC15BEB0EE7}" sibTransId="{D488621D-67A8-4353-921A-741343674690}"/>
    <dgm:cxn modelId="{4A39837A-5302-4771-8AF1-B77C30083628}" type="presOf" srcId="{375BE85D-703A-4153-B3A9-B7ECDAE63A3E}" destId="{29D7791F-105A-4F01-86CE-28F0799E1AAF}" srcOrd="0" destOrd="0" presId="urn:microsoft.com/office/officeart/2005/8/layout/default"/>
    <dgm:cxn modelId="{14DD6980-A11A-4B1B-87B0-232D39AC3EC3}" type="presOf" srcId="{C954CEC6-D6DD-4AD5-B1BE-F4C362F708A5}" destId="{0A240859-8B98-4BE6-95B6-2FD30530FEE4}" srcOrd="0" destOrd="0" presId="urn:microsoft.com/office/officeart/2005/8/layout/default"/>
    <dgm:cxn modelId="{CB5E9E40-35EB-40B7-922A-5637F84BADBB}" type="presParOf" srcId="{0A240859-8B98-4BE6-95B6-2FD30530FEE4}" destId="{29D7791F-105A-4F01-86CE-28F0799E1AAF}" srcOrd="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4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chemeClr val="bg1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>
        <a:solidFill>
          <a:schemeClr val="tx2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DC529C98-7756-4FE6-83DF-48F9438716C8}" type="presOf" srcId="{D14807FD-294C-4482-91EE-34C09B13669A}" destId="{BCE275B7-D1E9-4183-BABE-507E54E1C931}" srcOrd="0" destOrd="0" presId="urn:microsoft.com/office/officeart/2005/8/layout/chevron1"/>
    <dgm:cxn modelId="{EAE7DACA-5CFC-4D0B-B4F9-862FBBED3929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6696E64A-4F5D-4A42-B391-EDC4899E5C4E}" type="presOf" srcId="{9C869D94-BD20-4CF6-9CAA-58E706B950F6}" destId="{0AECE453-CE2A-473C-BD27-70D00DA5B95C}" srcOrd="0" destOrd="0" presId="urn:microsoft.com/office/officeart/2005/8/layout/chevron1"/>
    <dgm:cxn modelId="{2DEFF08C-EF75-4A42-BF10-34562F626D43}" type="presOf" srcId="{EB61DA86-9B86-4759-822E-DA32F7AA073E}" destId="{135DB1F4-89C2-4733-9521-42FD5CECF10C}" srcOrd="0" destOrd="0" presId="urn:microsoft.com/office/officeart/2005/8/layout/chevron1"/>
    <dgm:cxn modelId="{92D6AD79-D7C6-4756-9881-688A37CA685E}" type="presOf" srcId="{D0C25FB2-BCD9-40F2-AD7D-9958175F77A4}" destId="{3E9602A8-0A34-4630-A972-81E39BB9FA5D}" srcOrd="0" destOrd="0" presId="urn:microsoft.com/office/officeart/2005/8/layout/chevron1"/>
    <dgm:cxn modelId="{EF80253A-A6B4-4D8F-97CE-7904C4269AE9}" type="presParOf" srcId="{0AECE453-CE2A-473C-BD27-70D00DA5B95C}" destId="{135DB1F4-89C2-4733-9521-42FD5CECF10C}" srcOrd="0" destOrd="0" presId="urn:microsoft.com/office/officeart/2005/8/layout/chevron1"/>
    <dgm:cxn modelId="{0F004692-F92D-46AB-91E4-E65BCC236EE1}" type="presParOf" srcId="{0AECE453-CE2A-473C-BD27-70D00DA5B95C}" destId="{E1C76734-9ABE-473C-AD4C-C4BF49F91E97}" srcOrd="1" destOrd="0" presId="urn:microsoft.com/office/officeart/2005/8/layout/chevron1"/>
    <dgm:cxn modelId="{90215343-C7DD-4386-BCFA-6935D964C21F}" type="presParOf" srcId="{0AECE453-CE2A-473C-BD27-70D00DA5B95C}" destId="{6BF66C9A-92D4-481D-A538-FD1A4E3DC0D5}" srcOrd="2" destOrd="0" presId="urn:microsoft.com/office/officeart/2005/8/layout/chevron1"/>
    <dgm:cxn modelId="{4648A803-2EAB-4427-BF57-B626DE34ADD1}" type="presParOf" srcId="{0AECE453-CE2A-473C-BD27-70D00DA5B95C}" destId="{691CB221-7DD5-49BE-AC21-301798066F30}" srcOrd="3" destOrd="0" presId="urn:microsoft.com/office/officeart/2005/8/layout/chevron1"/>
    <dgm:cxn modelId="{42689DDC-BE9E-4589-8F7B-8279CB2BC051}" type="presParOf" srcId="{0AECE453-CE2A-473C-BD27-70D00DA5B95C}" destId="{3E9602A8-0A34-4630-A972-81E39BB9FA5D}" srcOrd="4" destOrd="0" presId="urn:microsoft.com/office/officeart/2005/8/layout/chevron1"/>
    <dgm:cxn modelId="{AE3FE66D-B510-4D4E-A50E-787F6CA4EAFF}" type="presParOf" srcId="{0AECE453-CE2A-473C-BD27-70D00DA5B95C}" destId="{D0B9A118-173B-40DB-89B8-9F21FF5432C9}" srcOrd="5" destOrd="0" presId="urn:microsoft.com/office/officeart/2005/8/layout/chevron1"/>
    <dgm:cxn modelId="{AFC1BC41-4BDB-4F39-9A66-3AA86095774A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Frank Klöker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3CDAD735-0FA4-4F18-A4FF-BF26A4239D57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27 years of experience in Operations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601AD484-C774-4133-8EDD-E25DC144CF18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 		Applicationmanagement for Cloud hosting platform						personal point of contact for Apprentices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6417D77C-5D52-4157-A3FC-E8833CB22090}">
      <dgm:prSet custT="1"/>
      <dgm:spPr/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10 years Examiner on Chamber of Commerce and Industry 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0744F3D2-7C7A-428A-AD9F-7FC12B7EE67E}" type="parTrans" cxnId="{AA449E5E-C76A-4B13-8BBD-6DE508363A30}">
      <dgm:prSet/>
      <dgm:spPr/>
      <dgm:t>
        <a:bodyPr/>
        <a:lstStyle/>
        <a:p>
          <a:endParaRPr lang="de-DE"/>
        </a:p>
      </dgm:t>
    </dgm:pt>
    <dgm:pt modelId="{DE9AE1D7-1DFD-4190-B2EB-57211E6306B3}" type="sibTrans" cxnId="{AA449E5E-C76A-4B13-8BBD-6DE508363A30}">
      <dgm:prSet/>
      <dgm:spPr/>
      <dgm:t>
        <a:bodyPr/>
        <a:lstStyle/>
        <a:p>
          <a:endParaRPr lang="de-DE"/>
        </a:p>
      </dgm:t>
    </dgm:pt>
    <dgm:pt modelId="{A78A4A3F-9887-4D76-99D4-58BD373D59A1}">
      <dgm:prSet custT="1"/>
      <dgm:spPr/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		Deutsche Telekom AG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D291E1BF-1719-416F-8A83-74560AB23AE9}" type="parTrans" cxnId="{4E5EC8F1-968D-402F-BCEB-B485173D6E17}">
      <dgm:prSet/>
      <dgm:spPr/>
      <dgm:t>
        <a:bodyPr/>
        <a:lstStyle/>
        <a:p>
          <a:endParaRPr lang="de-DE"/>
        </a:p>
      </dgm:t>
    </dgm:pt>
    <dgm:pt modelId="{B381B817-0B14-43FB-BBDA-9F2F1A428961}" type="sibTrans" cxnId="{4E5EC8F1-968D-402F-BCEB-B485173D6E17}">
      <dgm:prSet/>
      <dgm:spPr/>
      <dgm:t>
        <a:bodyPr/>
        <a:lstStyle/>
        <a:p>
          <a:endParaRPr lang="de-DE"/>
        </a:p>
      </dgm:t>
    </dgm:pt>
    <dgm:pt modelId="{FDA67156-A2DC-4DC5-9306-7EDD41ECDE29}">
      <dgm:prSet custT="1"/>
      <dgm:spPr/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D279B510-B9EE-4568-BED9-7E8A8E82C0BA}" type="parTrans" cxnId="{801128F3-8E1B-4162-84F5-0B2E032F40CF}">
      <dgm:prSet/>
      <dgm:spPr/>
      <dgm:t>
        <a:bodyPr/>
        <a:lstStyle/>
        <a:p>
          <a:endParaRPr lang="de-DE"/>
        </a:p>
      </dgm:t>
    </dgm:pt>
    <dgm:pt modelId="{AC360540-A4C1-4BF3-8651-F59EFC2FDA45}" type="sibTrans" cxnId="{801128F3-8E1B-4162-84F5-0B2E032F40CF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3EAA2DD5-5933-4700-BF31-5F66533A77D5}" type="presOf" srcId="{601AD484-C774-4133-8EDD-E25DC144CF18}" destId="{1D380A2A-1436-4BC6-9682-4A6F1756B36A}" srcOrd="0" destOrd="0" presId="urn:microsoft.com/office/officeart/2005/8/layout/list1"/>
    <dgm:cxn modelId="{AA449E5E-C76A-4B13-8BBD-6DE508363A30}" srcId="{4025DB9A-0ED1-4F00-BB3A-1E38CF3525C6}" destId="{6417D77C-5D52-4157-A3FC-E8833CB22090}" srcOrd="1" destOrd="0" parTransId="{0744F3D2-7C7A-428A-AD9F-7FC12B7EE67E}" sibTransId="{DE9AE1D7-1DFD-4190-B2EB-57211E6306B3}"/>
    <dgm:cxn modelId="{801128F3-8E1B-4162-84F5-0B2E032F40CF}" srcId="{2145B9AC-3DB4-49BD-8B9D-67935175CE51}" destId="{FDA67156-A2DC-4DC5-9306-7EDD41ECDE29}" srcOrd="2" destOrd="0" parTransId="{D279B510-B9EE-4568-BED9-7E8A8E82C0BA}" sibTransId="{AC360540-A4C1-4BF3-8651-F59EFC2FDA45}"/>
    <dgm:cxn modelId="{17708B2D-9CC0-4BBE-BE1F-56A514BE8035}" type="presOf" srcId="{4025DB9A-0ED1-4F00-BB3A-1E38CF3525C6}" destId="{2CFFDFEA-2A6E-4B3D-970A-80A69C636168}" srcOrd="0" destOrd="0" presId="urn:microsoft.com/office/officeart/2005/8/layout/list1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4E5EC8F1-968D-402F-BCEB-B485173D6E17}" srcId="{2145B9AC-3DB4-49BD-8B9D-67935175CE51}" destId="{A78A4A3F-9887-4D76-99D4-58BD373D59A1}" srcOrd="1" destOrd="0" parTransId="{D291E1BF-1719-416F-8A83-74560AB23AE9}" sibTransId="{B381B817-0B14-43FB-BBDA-9F2F1A428961}"/>
    <dgm:cxn modelId="{04A40D21-F2D6-4E6B-BED8-262D3EA2D922}" type="presOf" srcId="{8C253FF5-4B38-46AA-9604-5740D538721B}" destId="{36EDF564-50E4-47F9-8DB5-BE5E735EFF0D}" srcOrd="1" destOrd="0" presId="urn:microsoft.com/office/officeart/2005/8/layout/list1"/>
    <dgm:cxn modelId="{163CCF57-5E69-4FAA-9450-111F012E341A}" type="presOf" srcId="{2145B9AC-3DB4-49BD-8B9D-67935175CE51}" destId="{858BC837-E5A9-4C97-BB1B-4A6AFF7AC6A1}" srcOrd="0" destOrd="0" presId="urn:microsoft.com/office/officeart/2005/8/layout/list1"/>
    <dgm:cxn modelId="{95F788CA-8F9E-46D4-AF88-27A889D3B192}" type="presOf" srcId="{FDA67156-A2DC-4DC5-9306-7EDD41ECDE29}" destId="{1D380A2A-1436-4BC6-9682-4A6F1756B36A}" srcOrd="0" destOrd="2" presId="urn:microsoft.com/office/officeart/2005/8/layout/list1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D76CE288-E9F6-401C-900E-7B93079DBA22}" type="presOf" srcId="{3C07000C-9F24-45B6-AE25-D54ADF954BCD}" destId="{9BB4A022-7BE9-4D96-9DCD-74C58E8AC746}" srcOrd="0" destOrd="0" presId="urn:microsoft.com/office/officeart/2005/8/layout/list1"/>
    <dgm:cxn modelId="{AC25ACE1-BEE4-442D-9163-F6CFBFE05AA8}" srcId="{8C253FF5-4B38-46AA-9604-5740D538721B}" destId="{3CDAD735-0FA4-4F18-A4FF-BF26A4239D57}" srcOrd="1" destOrd="0" parTransId="{FB59A7CB-C225-41A0-852D-9027D2632821}" sibTransId="{C615F0E3-FECB-4440-8C1A-966183BEBC3A}"/>
    <dgm:cxn modelId="{8F305464-76CF-422C-A9F6-C02D2D2F36E4}" type="presOf" srcId="{54518278-5A2B-46A8-AB9B-56E9194056B6}" destId="{148A2150-C136-4328-AEF5-922C2C3CE943}" srcOrd="0" destOrd="0" presId="urn:microsoft.com/office/officeart/2005/8/layout/list1"/>
    <dgm:cxn modelId="{E3153EF4-AC4B-4831-833C-12E503476E93}" type="presOf" srcId="{69659624-A646-42E4-A835-F1EBBBD9138B}" destId="{4FBAF1EA-119C-4A7D-BED0-7FD2E02DC8D3}" srcOrd="0" destOrd="0" presId="urn:microsoft.com/office/officeart/2005/8/layout/list1"/>
    <dgm:cxn modelId="{5E3533B8-3FFA-4D91-AF5E-40C38CC6BC46}" type="presOf" srcId="{6417D77C-5D52-4157-A3FC-E8833CB22090}" destId="{148A2150-C136-4328-AEF5-922C2C3CE943}" srcOrd="0" destOrd="1" presId="urn:microsoft.com/office/officeart/2005/8/layout/list1"/>
    <dgm:cxn modelId="{C71D630E-C943-472B-BC05-2F09793FCBDC}" type="presOf" srcId="{4025DB9A-0ED1-4F00-BB3A-1E38CF3525C6}" destId="{BA975037-BE6C-4B32-8DBF-C84C73617461}" srcOrd="1" destOrd="0" presId="urn:microsoft.com/office/officeart/2005/8/layout/list1"/>
    <dgm:cxn modelId="{4D409BA3-18B2-43EB-B990-3080D46EA735}" type="presOf" srcId="{8C253FF5-4B38-46AA-9604-5740D538721B}" destId="{0C7FECAC-14A2-4CFA-A84E-D34ECF27687B}" srcOrd="0" destOrd="0" presId="urn:microsoft.com/office/officeart/2005/8/layout/list1"/>
    <dgm:cxn modelId="{76DC9059-EB51-425D-BDD0-96A56575CD25}" type="presOf" srcId="{A78A4A3F-9887-4D76-99D4-58BD373D59A1}" destId="{1D380A2A-1436-4BC6-9682-4A6F1756B36A}" srcOrd="0" destOrd="1" presId="urn:microsoft.com/office/officeart/2005/8/layout/list1"/>
    <dgm:cxn modelId="{822B4752-4F77-4BEF-A2C1-ABFFF258FC1F}" type="presOf" srcId="{3CDAD735-0FA4-4F18-A4FF-BF26A4239D57}" destId="{4FBAF1EA-119C-4A7D-BED0-7FD2E02DC8D3}" srcOrd="0" destOrd="1" presId="urn:microsoft.com/office/officeart/2005/8/layout/list1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B55BF44D-CBD9-494C-8891-9C73FD9EA136}" type="presOf" srcId="{2145B9AC-3DB4-49BD-8B9D-67935175CE51}" destId="{6B6A897F-5665-48D8-ACE1-FC4B644D487D}" srcOrd="1" destOrd="0" presId="urn:microsoft.com/office/officeart/2005/8/layout/list1"/>
    <dgm:cxn modelId="{CE302A56-81EB-4EEA-8B7B-1CFD952C9427}" type="presParOf" srcId="{9BB4A022-7BE9-4D96-9DCD-74C58E8AC746}" destId="{214F8A8D-5B2A-4C46-8AEB-8645900EAAFC}" srcOrd="0" destOrd="0" presId="urn:microsoft.com/office/officeart/2005/8/layout/list1"/>
    <dgm:cxn modelId="{DDE2B983-ABC1-422F-824F-8B074BB20949}" type="presParOf" srcId="{214F8A8D-5B2A-4C46-8AEB-8645900EAAFC}" destId="{0C7FECAC-14A2-4CFA-A84E-D34ECF27687B}" srcOrd="0" destOrd="0" presId="urn:microsoft.com/office/officeart/2005/8/layout/list1"/>
    <dgm:cxn modelId="{5188A1DA-3719-4A92-B5C8-083F379C61D6}" type="presParOf" srcId="{214F8A8D-5B2A-4C46-8AEB-8645900EAAFC}" destId="{36EDF564-50E4-47F9-8DB5-BE5E735EFF0D}" srcOrd="1" destOrd="0" presId="urn:microsoft.com/office/officeart/2005/8/layout/list1"/>
    <dgm:cxn modelId="{D62DC702-40E1-4328-938A-6666DEB72CEA}" type="presParOf" srcId="{9BB4A022-7BE9-4D96-9DCD-74C58E8AC746}" destId="{0929419D-D828-4EB1-BE85-545FAC75147D}" srcOrd="1" destOrd="0" presId="urn:microsoft.com/office/officeart/2005/8/layout/list1"/>
    <dgm:cxn modelId="{4F29ADC9-5F58-4415-866B-71123611521B}" type="presParOf" srcId="{9BB4A022-7BE9-4D96-9DCD-74C58E8AC746}" destId="{4FBAF1EA-119C-4A7D-BED0-7FD2E02DC8D3}" srcOrd="2" destOrd="0" presId="urn:microsoft.com/office/officeart/2005/8/layout/list1"/>
    <dgm:cxn modelId="{95DBBCB6-1273-40F8-9A26-0923B05B8E7F}" type="presParOf" srcId="{9BB4A022-7BE9-4D96-9DCD-74C58E8AC746}" destId="{3F047EE5-19F6-4FFB-A6EB-10F6CB893674}" srcOrd="3" destOrd="0" presId="urn:microsoft.com/office/officeart/2005/8/layout/list1"/>
    <dgm:cxn modelId="{C4020F14-1E7D-4B25-9263-5A253CCAF325}" type="presParOf" srcId="{9BB4A022-7BE9-4D96-9DCD-74C58E8AC746}" destId="{BD9540F2-B1BE-4B3B-A1A2-74B6265040F7}" srcOrd="4" destOrd="0" presId="urn:microsoft.com/office/officeart/2005/8/layout/list1"/>
    <dgm:cxn modelId="{C8C895DD-2AE8-4CC5-9D31-BDAE66427A3F}" type="presParOf" srcId="{BD9540F2-B1BE-4B3B-A1A2-74B6265040F7}" destId="{2CFFDFEA-2A6E-4B3D-970A-80A69C636168}" srcOrd="0" destOrd="0" presId="urn:microsoft.com/office/officeart/2005/8/layout/list1"/>
    <dgm:cxn modelId="{2C5B263F-D409-45EB-A450-553520DEB9D6}" type="presParOf" srcId="{BD9540F2-B1BE-4B3B-A1A2-74B6265040F7}" destId="{BA975037-BE6C-4B32-8DBF-C84C73617461}" srcOrd="1" destOrd="0" presId="urn:microsoft.com/office/officeart/2005/8/layout/list1"/>
    <dgm:cxn modelId="{85BA8061-1A36-4661-BF5C-0E8877EC537E}" type="presParOf" srcId="{9BB4A022-7BE9-4D96-9DCD-74C58E8AC746}" destId="{7B63C310-DF5C-4B83-921A-43B067EC887A}" srcOrd="5" destOrd="0" presId="urn:microsoft.com/office/officeart/2005/8/layout/list1"/>
    <dgm:cxn modelId="{399821E0-17D5-4857-8144-C18956FD1E66}" type="presParOf" srcId="{9BB4A022-7BE9-4D96-9DCD-74C58E8AC746}" destId="{148A2150-C136-4328-AEF5-922C2C3CE943}" srcOrd="6" destOrd="0" presId="urn:microsoft.com/office/officeart/2005/8/layout/list1"/>
    <dgm:cxn modelId="{805BA299-5F8C-4213-9A27-0D4E41717F11}" type="presParOf" srcId="{9BB4A022-7BE9-4D96-9DCD-74C58E8AC746}" destId="{0FC8BB4E-8250-4F46-B57E-26C6F3C17C11}" srcOrd="7" destOrd="0" presId="urn:microsoft.com/office/officeart/2005/8/layout/list1"/>
    <dgm:cxn modelId="{9C2C0837-38D2-4DE3-9179-9E364D272A02}" type="presParOf" srcId="{9BB4A022-7BE9-4D96-9DCD-74C58E8AC746}" destId="{730D1FBB-F471-4D30-A724-DB54D34EC6E9}" srcOrd="8" destOrd="0" presId="urn:microsoft.com/office/officeart/2005/8/layout/list1"/>
    <dgm:cxn modelId="{E215CB00-642A-43C2-8FC0-217D4F85F2C8}" type="presParOf" srcId="{730D1FBB-F471-4D30-A724-DB54D34EC6E9}" destId="{858BC837-E5A9-4C97-BB1B-4A6AFF7AC6A1}" srcOrd="0" destOrd="0" presId="urn:microsoft.com/office/officeart/2005/8/layout/list1"/>
    <dgm:cxn modelId="{D9959FEB-5B73-4FF4-AE16-37FD34B9E02A}" type="presParOf" srcId="{730D1FBB-F471-4D30-A724-DB54D34EC6E9}" destId="{6B6A897F-5665-48D8-ACE1-FC4B644D487D}" srcOrd="1" destOrd="0" presId="urn:microsoft.com/office/officeart/2005/8/layout/list1"/>
    <dgm:cxn modelId="{9DBFA5C5-9A31-48B0-8955-73596ADCBCF7}" type="presParOf" srcId="{9BB4A022-7BE9-4D96-9DCD-74C58E8AC746}" destId="{7140714F-DE80-44C7-8816-CA26445D9ECC}" srcOrd="9" destOrd="0" presId="urn:microsoft.com/office/officeart/2005/8/layout/list1"/>
    <dgm:cxn modelId="{BCFF5397-ACF3-487C-9E93-016237FEF237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B3FBD9A1-9E96-4B05-ADA4-D676C242164F}" type="doc">
      <dgm:prSet loTypeId="urn:microsoft.com/office/officeart/2005/8/layout/vList2" loCatId="list" qsTypeId="urn:microsoft.com/office/officeart/2005/8/quickstyle/simple2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95A4E54D-3F39-4278-81F6-EA35748A6217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formation</a:t>
          </a:r>
          <a:endParaRPr lang="de-DE" sz="20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F763715-5F34-4661-BC64-A8350FC3B55C}" type="parTrans" cxnId="{06262C94-D39C-428F-8ACB-CC1B3F120CA6}">
      <dgm:prSet/>
      <dgm:spPr/>
      <dgm:t>
        <a:bodyPr/>
        <a:lstStyle/>
        <a:p>
          <a:endParaRPr lang="de-DE"/>
        </a:p>
      </dgm:t>
    </dgm:pt>
    <dgm:pt modelId="{6D84827F-B3EE-480F-B11B-A259A6C3A417}" type="sibTrans" cxnId="{06262C94-D39C-428F-8ACB-CC1B3F120CA6}">
      <dgm:prSet/>
      <dgm:spPr/>
      <dgm:t>
        <a:bodyPr/>
        <a:lstStyle/>
        <a:p>
          <a:endParaRPr lang="de-DE"/>
        </a:p>
      </dgm:t>
    </dgm:pt>
    <dgm:pt modelId="{2184AAD6-9A2C-4FB3-9A61-3BE58C847A4B}">
      <dgm:prSet phldrT="[Text]" custT="1"/>
      <dgm:spPr/>
      <dgm:t>
        <a:bodyPr/>
        <a:lstStyle/>
        <a:p>
          <a:r>
            <a:rPr lang="de-DE" sz="10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"/>
            </a:rPr>
            <a:t>https://dzone.com/refcardz/getting-started-openstack-most</a:t>
          </a:r>
          <a:r>
            <a:rPr lang="de-DE" sz="1000" dirty="0" smtClean="0">
              <a:latin typeface="Arial" pitchFamily="34" charset="0"/>
              <a:cs typeface="Arial" pitchFamily="34" charset="0"/>
            </a:rPr>
            <a:t> </a:t>
          </a:r>
          <a:endParaRPr lang="de-DE" sz="1000" dirty="0">
            <a:latin typeface="Arial" pitchFamily="34" charset="0"/>
            <a:cs typeface="Arial" pitchFamily="34" charset="0"/>
          </a:endParaRPr>
        </a:p>
      </dgm:t>
    </dgm:pt>
    <dgm:pt modelId="{24B454B5-1875-49DE-9F08-2210C4C1D9AF}" type="parTrans" cxnId="{1E996444-E1E3-4E98-B783-85DD22124600}">
      <dgm:prSet/>
      <dgm:spPr/>
      <dgm:t>
        <a:bodyPr/>
        <a:lstStyle/>
        <a:p>
          <a:endParaRPr lang="de-DE"/>
        </a:p>
      </dgm:t>
    </dgm:pt>
    <dgm:pt modelId="{4DB6EC1E-A778-4A17-9976-56B05301B08E}" type="sibTrans" cxnId="{1E996444-E1E3-4E98-B783-85DD22124600}">
      <dgm:prSet/>
      <dgm:spPr/>
      <dgm:t>
        <a:bodyPr/>
        <a:lstStyle/>
        <a:p>
          <a:endParaRPr lang="de-DE"/>
        </a:p>
      </dgm:t>
    </dgm:pt>
    <dgm:pt modelId="{26BE7C14-7621-4829-8FDB-F54722BBB351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ictures</a:t>
          </a:r>
          <a:endParaRPr lang="de-DE" sz="28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F905949-92EF-4C24-A9C8-4AADD52A2728}" type="parTrans" cxnId="{18B84BA8-9D54-4F47-A27C-B4EF786AB68D}">
      <dgm:prSet/>
      <dgm:spPr/>
      <dgm:t>
        <a:bodyPr/>
        <a:lstStyle/>
        <a:p>
          <a:endParaRPr lang="de-DE"/>
        </a:p>
      </dgm:t>
    </dgm:pt>
    <dgm:pt modelId="{F1698962-4368-43D2-9A33-BF10BE48AFC8}" type="sibTrans" cxnId="{18B84BA8-9D54-4F47-A27C-B4EF786AB68D}">
      <dgm:prSet/>
      <dgm:spPr/>
      <dgm:t>
        <a:bodyPr/>
        <a:lstStyle/>
        <a:p>
          <a:endParaRPr lang="de-DE"/>
        </a:p>
      </dgm:t>
    </dgm:pt>
    <dgm:pt modelId="{AD0FE73B-DA94-4EDB-88FB-A46F26CA74E2}">
      <dgm:prSet phldrT="[Text]" custT="1"/>
      <dgm:spPr/>
      <dgm:t>
        <a:bodyPr/>
        <a:lstStyle/>
        <a:p>
          <a:r>
            <a:rPr lang="de-DE" sz="9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2"/>
            </a:rPr>
            <a:t>http://www.ofekcloud.com/media/images/1e7b5ca3-8b2e-4e2e-9898-5df978f0218aimage14.jpeg</a:t>
          </a:r>
          <a:r>
            <a:rPr lang="de-DE" sz="900" dirty="0" smtClean="0">
              <a:latin typeface="Arial" pitchFamily="34" charset="0"/>
              <a:cs typeface="Arial" pitchFamily="34" charset="0"/>
            </a:rPr>
            <a:t> ( Slide #10 CC)</a:t>
          </a:r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178D5A1A-B9AC-4F66-B0C9-29EA7E4472D7}" type="parTrans" cxnId="{F285BDBD-6E6F-4155-9FEA-82FFD8B10A45}">
      <dgm:prSet/>
      <dgm:spPr/>
      <dgm:t>
        <a:bodyPr/>
        <a:lstStyle/>
        <a:p>
          <a:endParaRPr lang="de-DE"/>
        </a:p>
      </dgm:t>
    </dgm:pt>
    <dgm:pt modelId="{4B9CB043-5036-4E69-A175-5C79465D3593}" type="sibTrans" cxnId="{F285BDBD-6E6F-4155-9FEA-82FFD8B10A45}">
      <dgm:prSet/>
      <dgm:spPr/>
      <dgm:t>
        <a:bodyPr/>
        <a:lstStyle/>
        <a:p>
          <a:endParaRPr lang="de-DE"/>
        </a:p>
      </dgm:t>
    </dgm:pt>
    <dgm:pt modelId="{F3E685CF-9490-4511-B061-9C350F7E8C63}">
      <dgm:prSet phldrT="[Text]" custT="1"/>
      <dgm:spPr/>
      <dgm:t>
        <a:bodyPr/>
        <a:lstStyle/>
        <a:p>
          <a:r>
            <a:rPr lang="de-DE" sz="9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3"/>
            </a:rPr>
            <a:t>http://www.all-stars.de/blog/wp-content/uploads/2014/04/planung.jpg</a:t>
          </a:r>
          <a:r>
            <a:rPr lang="de-DE" sz="900" dirty="0" smtClean="0">
              <a:latin typeface="Arial" pitchFamily="34" charset="0"/>
              <a:cs typeface="Arial" pitchFamily="34" charset="0"/>
            </a:rPr>
            <a:t> (Slide #10 Planning)</a:t>
          </a:r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33298F72-C92D-41B7-853A-94FD87E9A124}" type="parTrans" cxnId="{16323209-4E61-4054-93CB-24DD37508197}">
      <dgm:prSet/>
      <dgm:spPr/>
      <dgm:t>
        <a:bodyPr/>
        <a:lstStyle/>
        <a:p>
          <a:endParaRPr lang="de-DE"/>
        </a:p>
      </dgm:t>
    </dgm:pt>
    <dgm:pt modelId="{4CBF7E65-7C7D-479E-A620-387C7642F12D}" type="sibTrans" cxnId="{16323209-4E61-4054-93CB-24DD37508197}">
      <dgm:prSet/>
      <dgm:spPr/>
      <dgm:t>
        <a:bodyPr/>
        <a:lstStyle/>
        <a:p>
          <a:endParaRPr lang="de-DE"/>
        </a:p>
      </dgm:t>
    </dgm:pt>
    <dgm:pt modelId="{B637715B-D72B-4C51-9342-B785C3306E9C}">
      <dgm:prSet phldrT="[Text]" custT="1"/>
      <dgm:spPr/>
      <dgm:t>
        <a:bodyPr/>
        <a:lstStyle/>
        <a:p>
          <a:r>
            <a:rPr lang="de-DE" sz="9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4"/>
            </a:rPr>
            <a:t>http://www.maclife.de/ratgeber/microsoft-office-ios-jetzt-icloud-unterstuetzung-10062588.html</a:t>
          </a:r>
          <a:r>
            <a:rPr lang="de-DE" sz="900" dirty="0" smtClean="0">
              <a:latin typeface="Arial" pitchFamily="34" charset="0"/>
              <a:cs typeface="Arial" pitchFamily="34" charset="0"/>
            </a:rPr>
            <a:t> (Slide #10 Office Tools)</a:t>
          </a:r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459F658B-276C-4085-A8EE-F86DE40E208C}" type="parTrans" cxnId="{C0631AF4-DE6A-4DAD-A72A-2A8839D3686B}">
      <dgm:prSet/>
      <dgm:spPr/>
      <dgm:t>
        <a:bodyPr/>
        <a:lstStyle/>
        <a:p>
          <a:endParaRPr lang="de-DE"/>
        </a:p>
      </dgm:t>
    </dgm:pt>
    <dgm:pt modelId="{128C1576-FD2C-4C69-8090-1C1E12FFDECA}" type="sibTrans" cxnId="{C0631AF4-DE6A-4DAD-A72A-2A8839D3686B}">
      <dgm:prSet/>
      <dgm:spPr/>
      <dgm:t>
        <a:bodyPr/>
        <a:lstStyle/>
        <a:p>
          <a:endParaRPr lang="de-DE"/>
        </a:p>
      </dgm:t>
    </dgm:pt>
    <dgm:pt modelId="{AC9F85D0-23ED-4CB3-8DE8-BF77519DDDF3}">
      <dgm:prSet phldrT="[Text]" custT="1"/>
      <dgm:spPr/>
      <dgm:t>
        <a:bodyPr/>
        <a:lstStyle/>
        <a:p>
          <a:r>
            <a:rPr lang="de-DE" sz="9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5"/>
            </a:rPr>
            <a:t>http://yourdost.com/blog/2016/02/how-to-become-more-creative.html</a:t>
          </a:r>
          <a:r>
            <a:rPr lang="de-DE" sz="900" dirty="0" smtClean="0">
              <a:latin typeface="Arial" pitchFamily="34" charset="0"/>
              <a:cs typeface="Arial" pitchFamily="34" charset="0"/>
            </a:rPr>
            <a:t> (Slide #10 Creative)</a:t>
          </a:r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191FBFE0-9F3C-423E-92D4-0C25E68B60EA}" type="parTrans" cxnId="{AD8E0212-5018-4F4D-BBC4-B61FCF34D9B4}">
      <dgm:prSet/>
      <dgm:spPr/>
      <dgm:t>
        <a:bodyPr/>
        <a:lstStyle/>
        <a:p>
          <a:endParaRPr lang="de-DE"/>
        </a:p>
      </dgm:t>
    </dgm:pt>
    <dgm:pt modelId="{A7827B90-875B-4258-9276-C2D591B8D9F7}" type="sibTrans" cxnId="{AD8E0212-5018-4F4D-BBC4-B61FCF34D9B4}">
      <dgm:prSet/>
      <dgm:spPr/>
      <dgm:t>
        <a:bodyPr/>
        <a:lstStyle/>
        <a:p>
          <a:endParaRPr lang="de-DE"/>
        </a:p>
      </dgm:t>
    </dgm:pt>
    <dgm:pt modelId="{0B24C4BC-DF72-480E-8AB6-A33062368E30}">
      <dgm:prSet phldrT="[Text]" custT="1"/>
      <dgm:spPr/>
      <dgm:t>
        <a:bodyPr/>
        <a:lstStyle/>
        <a:p>
          <a:r>
            <a:rPr lang="de-DE" sz="9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6"/>
            </a:rPr>
            <a:t>http://www.embritas.lt/project/duomenu-apdorojimo-centras/?lang=de</a:t>
          </a:r>
          <a:r>
            <a:rPr lang="de-DE" sz="900" dirty="0" smtClean="0">
              <a:latin typeface="Arial" pitchFamily="34" charset="0"/>
              <a:cs typeface="Arial" pitchFamily="34" charset="0"/>
            </a:rPr>
            <a:t> (Slide #14 Datacenter Biere)</a:t>
          </a:r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DD360B71-6DAB-490D-B4ED-D8E5A7019C94}" type="parTrans" cxnId="{9DAEB52A-1612-4427-9BC6-80AC9034B783}">
      <dgm:prSet/>
      <dgm:spPr/>
      <dgm:t>
        <a:bodyPr/>
        <a:lstStyle/>
        <a:p>
          <a:endParaRPr lang="de-DE"/>
        </a:p>
      </dgm:t>
    </dgm:pt>
    <dgm:pt modelId="{9F80740D-813B-4BC7-B009-0F2196BEC139}" type="sibTrans" cxnId="{9DAEB52A-1612-4427-9BC6-80AC9034B783}">
      <dgm:prSet/>
      <dgm:spPr/>
      <dgm:t>
        <a:bodyPr/>
        <a:lstStyle/>
        <a:p>
          <a:endParaRPr lang="de-DE"/>
        </a:p>
      </dgm:t>
    </dgm:pt>
    <dgm:pt modelId="{C34FF5A3-0623-4FBA-9C19-83FF46932954}">
      <dgm:prSet phldrT="[Text]" custT="1"/>
      <dgm:spPr/>
      <dgm:t>
        <a:bodyPr/>
        <a:lstStyle/>
        <a:p>
          <a:r>
            <a:rPr lang="de-DE" sz="9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7"/>
            </a:rPr>
            <a:t>https://www.openstack.org/brand/openstack-logo/logo-download/</a:t>
          </a:r>
          <a:r>
            <a:rPr lang="de-DE" sz="900" dirty="0" smtClean="0">
              <a:latin typeface="Arial" pitchFamily="34" charset="0"/>
              <a:cs typeface="Arial" pitchFamily="34" charset="0"/>
            </a:rPr>
            <a:t> (Slide #10,#1 OpenStack Logo)</a:t>
          </a:r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FA9F51E1-E9BF-444F-A668-EAC439FE3E78}" type="parTrans" cxnId="{305D5B95-666A-49C6-948D-19180F572130}">
      <dgm:prSet/>
      <dgm:spPr/>
      <dgm:t>
        <a:bodyPr/>
        <a:lstStyle/>
        <a:p>
          <a:endParaRPr lang="de-DE"/>
        </a:p>
      </dgm:t>
    </dgm:pt>
    <dgm:pt modelId="{5B43BC6A-DF01-4FDE-BABD-1F03D1D66CF3}" type="sibTrans" cxnId="{305D5B95-666A-49C6-948D-19180F572130}">
      <dgm:prSet/>
      <dgm:spPr/>
      <dgm:t>
        <a:bodyPr/>
        <a:lstStyle/>
        <a:p>
          <a:endParaRPr lang="de-DE"/>
        </a:p>
      </dgm:t>
    </dgm:pt>
    <dgm:pt modelId="{EA60EFBF-FCBE-447C-BCBC-E04AB5A04182}">
      <dgm:prSet phldrT="[Text]" custT="1"/>
      <dgm:spPr/>
      <dgm:t>
        <a:bodyPr/>
        <a:lstStyle/>
        <a:p>
          <a:r>
            <a:rPr lang="de-DE" sz="1000" dirty="0" smtClean="0">
              <a:latin typeface="Arial" pitchFamily="34" charset="0"/>
              <a:cs typeface="Arial" pitchFamily="34" charset="0"/>
            </a:rPr>
            <a:t> </a:t>
          </a:r>
          <a:r>
            <a:rPr lang="de-DE" sz="10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8"/>
            </a:rPr>
            <a:t>http://cloud-computing-blog.eu/was-ist-jetzt-eigentlich-cloud-computing/</a:t>
          </a:r>
          <a:r>
            <a:rPr lang="de-DE" sz="1000" dirty="0" smtClean="0">
              <a:latin typeface="Arial" pitchFamily="34" charset="0"/>
              <a:cs typeface="Arial" pitchFamily="34" charset="0"/>
            </a:rPr>
            <a:t> </a:t>
          </a:r>
          <a:endParaRPr lang="de-DE" sz="1000" dirty="0">
            <a:latin typeface="Arial" pitchFamily="34" charset="0"/>
            <a:cs typeface="Arial" pitchFamily="34" charset="0"/>
          </a:endParaRPr>
        </a:p>
      </dgm:t>
    </dgm:pt>
    <dgm:pt modelId="{A54EF8D3-42EA-4BEB-BB97-F0E4CB87C3D6}" type="parTrans" cxnId="{AAB258C1-7359-4840-846B-CA8B0205C17B}">
      <dgm:prSet/>
      <dgm:spPr/>
      <dgm:t>
        <a:bodyPr/>
        <a:lstStyle/>
        <a:p>
          <a:endParaRPr lang="de-DE"/>
        </a:p>
      </dgm:t>
    </dgm:pt>
    <dgm:pt modelId="{FA9C2AD3-6F9C-4DDC-98E2-4B5ED7C85FA6}" type="sibTrans" cxnId="{AAB258C1-7359-4840-846B-CA8B0205C17B}">
      <dgm:prSet/>
      <dgm:spPr/>
      <dgm:t>
        <a:bodyPr/>
        <a:lstStyle/>
        <a:p>
          <a:endParaRPr lang="de-DE"/>
        </a:p>
      </dgm:t>
    </dgm:pt>
    <dgm:pt modelId="{AB8AB2FA-0C03-4ADB-828B-3AA5DB7D1B83}">
      <dgm:prSet phldrT="[Text]" custT="1"/>
      <dgm:spPr/>
      <dgm:t>
        <a:bodyPr/>
        <a:lstStyle/>
        <a:p>
          <a:r>
            <a:rPr lang="de-DE" sz="1000" b="1" u="sng" dirty="0" smtClean="0">
              <a:latin typeface="Arial" pitchFamily="34" charset="0"/>
              <a:cs typeface="Arial" pitchFamily="34" charset="0"/>
            </a:rPr>
            <a:t>Other Sources</a:t>
          </a:r>
          <a:r>
            <a:rPr lang="de-DE" sz="1000" b="1" u="none" dirty="0" smtClean="0">
              <a:latin typeface="Arial" pitchFamily="34" charset="0"/>
              <a:cs typeface="Arial" pitchFamily="34" charset="0"/>
            </a:rPr>
            <a:t> : </a:t>
          </a:r>
          <a:r>
            <a:rPr lang="de-DE" sz="1000" dirty="0" smtClean="0">
              <a:latin typeface="Arial" pitchFamily="34" charset="0"/>
              <a:cs typeface="Arial" pitchFamily="34" charset="0"/>
            </a:rPr>
            <a:t>AiolosSystemDescription.pdf; Telekom Small Business Cloud_Refcard for ISVs.pdf</a:t>
          </a:r>
          <a:endParaRPr lang="de-DE" sz="1000" dirty="0">
            <a:latin typeface="Arial" pitchFamily="34" charset="0"/>
            <a:cs typeface="Arial" pitchFamily="34" charset="0"/>
          </a:endParaRPr>
        </a:p>
      </dgm:t>
    </dgm:pt>
    <dgm:pt modelId="{42C4DCB7-BA3B-4965-A688-630680FB111B}" type="parTrans" cxnId="{D17BBCAA-6B20-4F7B-9BF7-2C1BAA2C86F1}">
      <dgm:prSet/>
      <dgm:spPr/>
      <dgm:t>
        <a:bodyPr/>
        <a:lstStyle/>
        <a:p>
          <a:endParaRPr lang="de-DE"/>
        </a:p>
      </dgm:t>
    </dgm:pt>
    <dgm:pt modelId="{511FBC25-1C28-4543-9F02-FC6C38042313}" type="sibTrans" cxnId="{D17BBCAA-6B20-4F7B-9BF7-2C1BAA2C86F1}">
      <dgm:prSet/>
      <dgm:spPr/>
      <dgm:t>
        <a:bodyPr/>
        <a:lstStyle/>
        <a:p>
          <a:endParaRPr lang="de-DE"/>
        </a:p>
      </dgm:t>
    </dgm:pt>
    <dgm:pt modelId="{F331CA08-40E2-4C12-84C8-9AE7EC8B6DD6}">
      <dgm:prSet phldrT="[Text]" custT="1"/>
      <dgm:spPr/>
      <dgm:t>
        <a:bodyPr/>
        <a:lstStyle/>
        <a:p>
          <a:r>
            <a:rPr lang="de-DE" sz="9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9"/>
            </a:rPr>
            <a:t>https://gitlab.com/uploads/project/avatar/250833/runner_logo.png</a:t>
          </a:r>
          <a:r>
            <a:rPr lang="de-DE" sz="900" dirty="0" smtClean="0">
              <a:latin typeface="Arial" pitchFamily="34" charset="0"/>
              <a:cs typeface="Arial" pitchFamily="34" charset="0"/>
            </a:rPr>
            <a:t> (Slide #16 Git Runner Logo)</a:t>
          </a:r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92A4AD82-5893-4EE0-ABEE-F99E12DCB433}" type="parTrans" cxnId="{66D69582-68CF-49E6-9FDE-F31AF44ACCB1}">
      <dgm:prSet/>
      <dgm:spPr/>
      <dgm:t>
        <a:bodyPr/>
        <a:lstStyle/>
        <a:p>
          <a:endParaRPr lang="de-DE"/>
        </a:p>
      </dgm:t>
    </dgm:pt>
    <dgm:pt modelId="{86C31584-3DA7-4BBB-822A-B310A423FB28}" type="sibTrans" cxnId="{66D69582-68CF-49E6-9FDE-F31AF44ACCB1}">
      <dgm:prSet/>
      <dgm:spPr/>
      <dgm:t>
        <a:bodyPr/>
        <a:lstStyle/>
        <a:p>
          <a:endParaRPr lang="de-DE"/>
        </a:p>
      </dgm:t>
    </dgm:pt>
    <dgm:pt modelId="{73F1E484-4E60-4DC2-9730-BF6E86925CD7}">
      <dgm:prSet phldrT="[Text]" custT="1"/>
      <dgm:spPr/>
      <dgm:t>
        <a:bodyPr/>
        <a:lstStyle/>
        <a:p>
          <a:r>
            <a:rPr lang="de-DE" sz="9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0"/>
            </a:rPr>
            <a:t>https://d30y9cdsu7xlg0.cloudfront.net/png/27703-200.png</a:t>
          </a:r>
          <a:r>
            <a:rPr lang="de-DE" sz="900" dirty="0" smtClean="0">
              <a:latin typeface="Arial" pitchFamily="34" charset="0"/>
              <a:cs typeface="Arial" pitchFamily="34" charset="0"/>
            </a:rPr>
            <a:t> (Slide #16 Developer)</a:t>
          </a:r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EB1E1E87-F21F-4F53-8F47-F59311033710}" type="parTrans" cxnId="{FAF12C1F-69B6-441D-8CB9-19D6CEB13058}">
      <dgm:prSet/>
      <dgm:spPr/>
      <dgm:t>
        <a:bodyPr/>
        <a:lstStyle/>
        <a:p>
          <a:endParaRPr lang="de-DE"/>
        </a:p>
      </dgm:t>
    </dgm:pt>
    <dgm:pt modelId="{FD1D2FE1-2C4D-46D4-9C1D-D1D1113608A1}" type="sibTrans" cxnId="{FAF12C1F-69B6-441D-8CB9-19D6CEB13058}">
      <dgm:prSet/>
      <dgm:spPr/>
      <dgm:t>
        <a:bodyPr/>
        <a:lstStyle/>
        <a:p>
          <a:endParaRPr lang="de-DE"/>
        </a:p>
      </dgm:t>
    </dgm:pt>
    <dgm:pt modelId="{0F8544D6-B935-4371-BEC9-226BD76F45FF}">
      <dgm:prSet phldrT="[Text]" custT="1"/>
      <dgm:spPr/>
      <dgm:t>
        <a:bodyPr/>
        <a:lstStyle/>
        <a:p>
          <a:r>
            <a:rPr lang="de-DE" sz="9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1"/>
            </a:rPr>
            <a:t>https://gitlab.com/uploads/project/avatar/13083/gitlab-logo-square.png</a:t>
          </a:r>
          <a:r>
            <a:rPr lang="de-DE" sz="900" dirty="0" smtClean="0">
              <a:latin typeface="Arial" pitchFamily="34" charset="0"/>
              <a:cs typeface="Arial" pitchFamily="34" charset="0"/>
            </a:rPr>
            <a:t> (Slide #16 GitLab Logo)</a:t>
          </a:r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BF6D8480-AFCC-4AE2-A799-64459CAD80FC}" type="parTrans" cxnId="{BCCCC5CF-164E-4B9B-AD5D-7783753FAB69}">
      <dgm:prSet/>
      <dgm:spPr/>
      <dgm:t>
        <a:bodyPr/>
        <a:lstStyle/>
        <a:p>
          <a:endParaRPr lang="de-DE"/>
        </a:p>
      </dgm:t>
    </dgm:pt>
    <dgm:pt modelId="{2782EFAB-6AD6-47EE-A42A-F2344750832B}" type="sibTrans" cxnId="{BCCCC5CF-164E-4B9B-AD5D-7783753FAB69}">
      <dgm:prSet/>
      <dgm:spPr/>
      <dgm:t>
        <a:bodyPr/>
        <a:lstStyle/>
        <a:p>
          <a:endParaRPr lang="de-DE"/>
        </a:p>
      </dgm:t>
    </dgm:pt>
    <dgm:pt modelId="{F14462BD-F46E-4F75-B4C4-7601717293F9}">
      <dgm:prSet phldrT="[Text]" custT="1"/>
      <dgm:spPr/>
      <dgm:t>
        <a:bodyPr/>
        <a:lstStyle/>
        <a:p>
          <a:r>
            <a:rPr lang="de-DE" sz="9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2"/>
            </a:rPr>
            <a:t>https://www.brand-design.telekom.com/icon-library/</a:t>
          </a:r>
          <a:r>
            <a:rPr lang="de-DE" sz="900" dirty="0" smtClean="0">
              <a:latin typeface="Arial" pitchFamily="34" charset="0"/>
              <a:cs typeface="Arial" pitchFamily="34" charset="0"/>
            </a:rPr>
            <a:t> (Slide #16 cancel, confirm, cloudupload)</a:t>
          </a:r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A9EF8551-86B7-4EF6-B7B2-5D5A170EB83F}" type="parTrans" cxnId="{6C4A627B-023E-4540-ADA6-00555FE4741B}">
      <dgm:prSet/>
      <dgm:spPr/>
      <dgm:t>
        <a:bodyPr/>
        <a:lstStyle/>
        <a:p>
          <a:endParaRPr lang="de-DE"/>
        </a:p>
      </dgm:t>
    </dgm:pt>
    <dgm:pt modelId="{CF5F27EF-70F5-4F6C-BB99-E2483A361F76}" type="sibTrans" cxnId="{6C4A627B-023E-4540-ADA6-00555FE4741B}">
      <dgm:prSet/>
      <dgm:spPr/>
      <dgm:t>
        <a:bodyPr/>
        <a:lstStyle/>
        <a:p>
          <a:endParaRPr lang="de-DE"/>
        </a:p>
      </dgm:t>
    </dgm:pt>
    <dgm:pt modelId="{45ED6F3A-DA35-479A-954B-3B88A6823D5B}">
      <dgm:prSet phldrT="[Text]" custT="1"/>
      <dgm:spPr/>
      <dgm:t>
        <a:bodyPr/>
        <a:lstStyle/>
        <a:p>
          <a:r>
            <a:rPr lang="de-DE" sz="9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3"/>
            </a:rPr>
            <a:t>https://de.pinterest.com/pin/556053885218068326/</a:t>
          </a:r>
          <a:r>
            <a:rPr lang="de-DE" sz="900" dirty="0" smtClean="0">
              <a:latin typeface="Arial" pitchFamily="34" charset="0"/>
              <a:cs typeface="Arial" pitchFamily="34" charset="0"/>
            </a:rPr>
            <a:t>  (Slide #18 Background)</a:t>
          </a:r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8BCC2C7B-9BDC-4B71-B515-C1E0F588A6E3}" type="parTrans" cxnId="{94F7B1E3-59A8-470D-8100-AE3B6B567204}">
      <dgm:prSet/>
      <dgm:spPr/>
      <dgm:t>
        <a:bodyPr/>
        <a:lstStyle/>
        <a:p>
          <a:endParaRPr lang="de-DE"/>
        </a:p>
      </dgm:t>
    </dgm:pt>
    <dgm:pt modelId="{2BA2969C-872A-417A-B3AB-66285E542535}" type="sibTrans" cxnId="{94F7B1E3-59A8-470D-8100-AE3B6B567204}">
      <dgm:prSet/>
      <dgm:spPr/>
      <dgm:t>
        <a:bodyPr/>
        <a:lstStyle/>
        <a:p>
          <a:endParaRPr lang="de-DE"/>
        </a:p>
      </dgm:t>
    </dgm:pt>
    <dgm:pt modelId="{F2A5F9B6-BE36-4ED8-92BA-FBC066B75848}">
      <dgm:prSet phldrT="[Text]" custT="1"/>
      <dgm:spPr/>
      <dgm:t>
        <a:bodyPr/>
        <a:lstStyle/>
        <a:p>
          <a:r>
            <a:rPr lang="de-DE" sz="10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4"/>
            </a:rPr>
            <a:t>https://www.openstack.org/</a:t>
          </a:r>
          <a:r>
            <a:rPr lang="de-DE" sz="1000" dirty="0" smtClean="0">
              <a:latin typeface="Arial" pitchFamily="34" charset="0"/>
              <a:cs typeface="Arial" pitchFamily="34" charset="0"/>
            </a:rPr>
            <a:t> </a:t>
          </a:r>
          <a:endParaRPr lang="de-DE" sz="1000" dirty="0">
            <a:latin typeface="Arial" pitchFamily="34" charset="0"/>
            <a:cs typeface="Arial" pitchFamily="34" charset="0"/>
          </a:endParaRPr>
        </a:p>
      </dgm:t>
    </dgm:pt>
    <dgm:pt modelId="{4960239C-252D-45AE-8DEC-3358145AD1BE}" type="parTrans" cxnId="{DA69380C-B779-4D22-993D-C16CB144421B}">
      <dgm:prSet/>
      <dgm:spPr/>
      <dgm:t>
        <a:bodyPr/>
        <a:lstStyle/>
        <a:p>
          <a:endParaRPr lang="de-DE"/>
        </a:p>
      </dgm:t>
    </dgm:pt>
    <dgm:pt modelId="{B7BED3A4-418D-4B21-8475-9CC2D30994EE}" type="sibTrans" cxnId="{DA69380C-B779-4D22-993D-C16CB144421B}">
      <dgm:prSet/>
      <dgm:spPr/>
      <dgm:t>
        <a:bodyPr/>
        <a:lstStyle/>
        <a:p>
          <a:endParaRPr lang="de-DE"/>
        </a:p>
      </dgm:t>
    </dgm:pt>
    <dgm:pt modelId="{D6932959-ACCA-458B-ACA6-52E72AD8FF47}">
      <dgm:prSet phldrT="[Text]" custT="1"/>
      <dgm:spPr/>
      <dgm:t>
        <a:bodyPr/>
        <a:lstStyle/>
        <a:p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517C098F-FBB0-4730-8CA7-93CED1A56A2E}" type="parTrans" cxnId="{B535E5DD-A1A7-4D39-ACD5-AF06D2B15D04}">
      <dgm:prSet/>
      <dgm:spPr/>
      <dgm:t>
        <a:bodyPr/>
        <a:lstStyle/>
        <a:p>
          <a:endParaRPr lang="de-DE"/>
        </a:p>
      </dgm:t>
    </dgm:pt>
    <dgm:pt modelId="{63259454-BF67-4D10-8648-EDF9F4E2CB2E}" type="sibTrans" cxnId="{B535E5DD-A1A7-4D39-ACD5-AF06D2B15D04}">
      <dgm:prSet/>
      <dgm:spPr/>
      <dgm:t>
        <a:bodyPr/>
        <a:lstStyle/>
        <a:p>
          <a:endParaRPr lang="de-DE"/>
        </a:p>
      </dgm:t>
    </dgm:pt>
    <dgm:pt modelId="{3DD0C67D-9E7C-4989-BFCC-DE0109B91A7C}">
      <dgm:prSet phldrT="[Text]" custT="1"/>
      <dgm:spPr/>
      <dgm:t>
        <a:bodyPr/>
        <a:lstStyle/>
        <a:p>
          <a:endParaRPr lang="de-DE" sz="1000" dirty="0">
            <a:latin typeface="Arial" pitchFamily="34" charset="0"/>
            <a:cs typeface="Arial" pitchFamily="34" charset="0"/>
          </a:endParaRPr>
        </a:p>
      </dgm:t>
    </dgm:pt>
    <dgm:pt modelId="{DEA64203-13AD-4CAE-9B19-3EA31140F007}" type="parTrans" cxnId="{34781D73-82A6-4208-8671-41AB0CF24BF0}">
      <dgm:prSet/>
      <dgm:spPr/>
      <dgm:t>
        <a:bodyPr/>
        <a:lstStyle/>
        <a:p>
          <a:endParaRPr lang="de-DE"/>
        </a:p>
      </dgm:t>
    </dgm:pt>
    <dgm:pt modelId="{13AB56D4-61DF-4F0D-930F-8A170CDBC13B}" type="sibTrans" cxnId="{34781D73-82A6-4208-8671-41AB0CF24BF0}">
      <dgm:prSet/>
      <dgm:spPr/>
      <dgm:t>
        <a:bodyPr/>
        <a:lstStyle/>
        <a:p>
          <a:endParaRPr lang="de-DE"/>
        </a:p>
      </dgm:t>
    </dgm:pt>
    <dgm:pt modelId="{D4BDAF16-5A50-4FD6-98AF-A2BF05ACEC86}" type="pres">
      <dgm:prSet presAssocID="{B3FBD9A1-9E96-4B05-ADA4-D676C242164F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941B5F1E-BE5B-4512-8FFD-930037772452}" type="pres">
      <dgm:prSet presAssocID="{95A4E54D-3F39-4278-81F6-EA35748A6217}" presName="parentText" presStyleLbl="node1" presStyleIdx="0" presStyleCnt="2" custScaleY="33575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35D980B-F227-4000-9869-2D5A8FA31B13}" type="pres">
      <dgm:prSet presAssocID="{95A4E54D-3F39-4278-81F6-EA35748A6217}" presName="childText" presStyleLbl="revTx" presStyleIdx="0" presStyleCnt="2" custScaleY="13321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03283A4-BBAE-49F6-A32A-13D1CE661B99}" type="pres">
      <dgm:prSet presAssocID="{26BE7C14-7621-4829-8FDB-F54722BBB351}" presName="parentText" presStyleLbl="node1" presStyleIdx="1" presStyleCnt="2" custScaleY="40999" custLinFactNeighborX="-7927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F5A6700-E73A-4C76-AB30-5E258848545C}" type="pres">
      <dgm:prSet presAssocID="{26BE7C14-7621-4829-8FDB-F54722BBB351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BBC0533D-2696-4DA4-ABB9-AC2B89BA2428}" type="presOf" srcId="{B637715B-D72B-4C51-9342-B785C3306E9C}" destId="{BF5A6700-E73A-4C76-AB30-5E258848545C}" srcOrd="0" destOrd="3" presId="urn:microsoft.com/office/officeart/2005/8/layout/vList2"/>
    <dgm:cxn modelId="{BCCCC5CF-164E-4B9B-AD5D-7783753FAB69}" srcId="{26BE7C14-7621-4829-8FDB-F54722BBB351}" destId="{0F8544D6-B935-4371-BEC9-226BD76F45FF}" srcOrd="9" destOrd="0" parTransId="{BF6D8480-AFCC-4AE2-A799-64459CAD80FC}" sibTransId="{2782EFAB-6AD6-47EE-A42A-F2344750832B}"/>
    <dgm:cxn modelId="{B763D799-5818-4113-99C4-E68D247150F4}" type="presOf" srcId="{26BE7C14-7621-4829-8FDB-F54722BBB351}" destId="{003283A4-BBAE-49F6-A32A-13D1CE661B99}" srcOrd="0" destOrd="0" presId="urn:microsoft.com/office/officeart/2005/8/layout/vList2"/>
    <dgm:cxn modelId="{DA69380C-B779-4D22-993D-C16CB144421B}" srcId="{95A4E54D-3F39-4278-81F6-EA35748A6217}" destId="{F2A5F9B6-BE36-4ED8-92BA-FBC066B75848}" srcOrd="1" destOrd="0" parTransId="{4960239C-252D-45AE-8DEC-3358145AD1BE}" sibTransId="{B7BED3A4-418D-4B21-8475-9CC2D30994EE}"/>
    <dgm:cxn modelId="{0B619950-6E50-41F2-979F-D8FB60701F37}" type="presOf" srcId="{0F8544D6-B935-4371-BEC9-226BD76F45FF}" destId="{BF5A6700-E73A-4C76-AB30-5E258848545C}" srcOrd="0" destOrd="9" presId="urn:microsoft.com/office/officeart/2005/8/layout/vList2"/>
    <dgm:cxn modelId="{1B009B9C-6E8B-49E2-8A74-41E49658DBED}" type="presOf" srcId="{73F1E484-4E60-4DC2-9730-BF6E86925CD7}" destId="{BF5A6700-E73A-4C76-AB30-5E258848545C}" srcOrd="0" destOrd="8" presId="urn:microsoft.com/office/officeart/2005/8/layout/vList2"/>
    <dgm:cxn modelId="{B535E5DD-A1A7-4D39-ACD5-AF06D2B15D04}" srcId="{26BE7C14-7621-4829-8FDB-F54722BBB351}" destId="{D6932959-ACCA-458B-ACA6-52E72AD8FF47}" srcOrd="0" destOrd="0" parTransId="{517C098F-FBB0-4730-8CA7-93CED1A56A2E}" sibTransId="{63259454-BF67-4D10-8648-EDF9F4E2CB2E}"/>
    <dgm:cxn modelId="{B56E2813-EACF-4854-BDCA-F94E0FC91974}" type="presOf" srcId="{AB8AB2FA-0C03-4ADB-828B-3AA5DB7D1B83}" destId="{135D980B-F227-4000-9869-2D5A8FA31B13}" srcOrd="0" destOrd="4" presId="urn:microsoft.com/office/officeart/2005/8/layout/vList2"/>
    <dgm:cxn modelId="{BC7D76A9-1B3E-4349-BA76-F7D035C09CCA}" type="presOf" srcId="{EA60EFBF-FCBE-447C-BCBC-E04AB5A04182}" destId="{135D980B-F227-4000-9869-2D5A8FA31B13}" srcOrd="0" destOrd="3" presId="urn:microsoft.com/office/officeart/2005/8/layout/vList2"/>
    <dgm:cxn modelId="{FD3D13A5-A8DC-4982-BA2B-D4DA2120CFBA}" type="presOf" srcId="{0B24C4BC-DF72-480E-8AB6-A33062368E30}" destId="{BF5A6700-E73A-4C76-AB30-5E258848545C}" srcOrd="0" destOrd="5" presId="urn:microsoft.com/office/officeart/2005/8/layout/vList2"/>
    <dgm:cxn modelId="{E3239F12-2095-423B-9EE9-277283591807}" type="presOf" srcId="{F2A5F9B6-BE36-4ED8-92BA-FBC066B75848}" destId="{135D980B-F227-4000-9869-2D5A8FA31B13}" srcOrd="0" destOrd="1" presId="urn:microsoft.com/office/officeart/2005/8/layout/vList2"/>
    <dgm:cxn modelId="{9487D654-0E1B-4CC6-963E-C920FB52D2F9}" type="presOf" srcId="{D6932959-ACCA-458B-ACA6-52E72AD8FF47}" destId="{BF5A6700-E73A-4C76-AB30-5E258848545C}" srcOrd="0" destOrd="0" presId="urn:microsoft.com/office/officeart/2005/8/layout/vList2"/>
    <dgm:cxn modelId="{155ABE32-D96A-4A65-853F-F07B7AE99934}" type="presOf" srcId="{AC9F85D0-23ED-4CB3-8DE8-BF77519DDDF3}" destId="{BF5A6700-E73A-4C76-AB30-5E258848545C}" srcOrd="0" destOrd="4" presId="urn:microsoft.com/office/officeart/2005/8/layout/vList2"/>
    <dgm:cxn modelId="{66D69582-68CF-49E6-9FDE-F31AF44ACCB1}" srcId="{26BE7C14-7621-4829-8FDB-F54722BBB351}" destId="{F331CA08-40E2-4C12-84C8-9AE7EC8B6DD6}" srcOrd="7" destOrd="0" parTransId="{92A4AD82-5893-4EE0-ABEE-F99E12DCB433}" sibTransId="{86C31584-3DA7-4BBB-822A-B310A423FB28}"/>
    <dgm:cxn modelId="{A76663D6-5C71-4111-AFB1-603B3776A2F5}" type="presOf" srcId="{F3E685CF-9490-4511-B061-9C350F7E8C63}" destId="{BF5A6700-E73A-4C76-AB30-5E258848545C}" srcOrd="0" destOrd="2" presId="urn:microsoft.com/office/officeart/2005/8/layout/vList2"/>
    <dgm:cxn modelId="{C85D2BA3-B56B-4582-8D4E-9D8B204F9E59}" type="presOf" srcId="{AD0FE73B-DA94-4EDB-88FB-A46F26CA74E2}" destId="{BF5A6700-E73A-4C76-AB30-5E258848545C}" srcOrd="0" destOrd="1" presId="urn:microsoft.com/office/officeart/2005/8/layout/vList2"/>
    <dgm:cxn modelId="{06262C94-D39C-428F-8ACB-CC1B3F120CA6}" srcId="{B3FBD9A1-9E96-4B05-ADA4-D676C242164F}" destId="{95A4E54D-3F39-4278-81F6-EA35748A6217}" srcOrd="0" destOrd="0" parTransId="{4F763715-5F34-4661-BC64-A8350FC3B55C}" sibTransId="{6D84827F-B3EE-480F-B11B-A259A6C3A417}"/>
    <dgm:cxn modelId="{305D5B95-666A-49C6-948D-19180F572130}" srcId="{26BE7C14-7621-4829-8FDB-F54722BBB351}" destId="{C34FF5A3-0623-4FBA-9C19-83FF46932954}" srcOrd="6" destOrd="0" parTransId="{FA9F51E1-E9BF-444F-A668-EAC439FE3E78}" sibTransId="{5B43BC6A-DF01-4FDE-BABD-1F03D1D66CF3}"/>
    <dgm:cxn modelId="{2C3ED88D-2B6B-4B86-B147-37B5D26B707B}" type="presOf" srcId="{95A4E54D-3F39-4278-81F6-EA35748A6217}" destId="{941B5F1E-BE5B-4512-8FFD-930037772452}" srcOrd="0" destOrd="0" presId="urn:microsoft.com/office/officeart/2005/8/layout/vList2"/>
    <dgm:cxn modelId="{F285BDBD-6E6F-4155-9FEA-82FFD8B10A45}" srcId="{26BE7C14-7621-4829-8FDB-F54722BBB351}" destId="{AD0FE73B-DA94-4EDB-88FB-A46F26CA74E2}" srcOrd="1" destOrd="0" parTransId="{178D5A1A-B9AC-4F66-B0C9-29EA7E4472D7}" sibTransId="{4B9CB043-5036-4E69-A175-5C79465D3593}"/>
    <dgm:cxn modelId="{6C4A627B-023E-4540-ADA6-00555FE4741B}" srcId="{26BE7C14-7621-4829-8FDB-F54722BBB351}" destId="{F14462BD-F46E-4F75-B4C4-7601717293F9}" srcOrd="10" destOrd="0" parTransId="{A9EF8551-86B7-4EF6-B7B2-5D5A170EB83F}" sibTransId="{CF5F27EF-70F5-4F6C-BB99-E2483A361F76}"/>
    <dgm:cxn modelId="{18B84BA8-9D54-4F47-A27C-B4EF786AB68D}" srcId="{B3FBD9A1-9E96-4B05-ADA4-D676C242164F}" destId="{26BE7C14-7621-4829-8FDB-F54722BBB351}" srcOrd="1" destOrd="0" parTransId="{5F905949-92EF-4C24-A9C8-4AADD52A2728}" sibTransId="{F1698962-4368-43D2-9A33-BF10BE48AFC8}"/>
    <dgm:cxn modelId="{D17BBCAA-6B20-4F7B-9BF7-2C1BAA2C86F1}" srcId="{95A4E54D-3F39-4278-81F6-EA35748A6217}" destId="{AB8AB2FA-0C03-4ADB-828B-3AA5DB7D1B83}" srcOrd="4" destOrd="0" parTransId="{42C4DCB7-BA3B-4965-A688-630680FB111B}" sibTransId="{511FBC25-1C28-4543-9F02-FC6C38042313}"/>
    <dgm:cxn modelId="{0217E14D-84D5-44BE-90C1-5692074C3769}" type="presOf" srcId="{2184AAD6-9A2C-4FB3-9A61-3BE58C847A4B}" destId="{135D980B-F227-4000-9869-2D5A8FA31B13}" srcOrd="0" destOrd="2" presId="urn:microsoft.com/office/officeart/2005/8/layout/vList2"/>
    <dgm:cxn modelId="{AAB258C1-7359-4840-846B-CA8B0205C17B}" srcId="{95A4E54D-3F39-4278-81F6-EA35748A6217}" destId="{EA60EFBF-FCBE-447C-BCBC-E04AB5A04182}" srcOrd="3" destOrd="0" parTransId="{A54EF8D3-42EA-4BEB-BB97-F0E4CB87C3D6}" sibTransId="{FA9C2AD3-6F9C-4DDC-98E2-4B5ED7C85FA6}"/>
    <dgm:cxn modelId="{C0631AF4-DE6A-4DAD-A72A-2A8839D3686B}" srcId="{26BE7C14-7621-4829-8FDB-F54722BBB351}" destId="{B637715B-D72B-4C51-9342-B785C3306E9C}" srcOrd="3" destOrd="0" parTransId="{459F658B-276C-4085-A8EE-F86DE40E208C}" sibTransId="{128C1576-FD2C-4C69-8090-1C1E12FFDECA}"/>
    <dgm:cxn modelId="{13319BCB-779E-4522-932D-BEDE23E695CE}" type="presOf" srcId="{3DD0C67D-9E7C-4989-BFCC-DE0109B91A7C}" destId="{135D980B-F227-4000-9869-2D5A8FA31B13}" srcOrd="0" destOrd="0" presId="urn:microsoft.com/office/officeart/2005/8/layout/vList2"/>
    <dgm:cxn modelId="{284EAF84-120C-49FF-A71E-493BCB5C85F7}" type="presOf" srcId="{C34FF5A3-0623-4FBA-9C19-83FF46932954}" destId="{BF5A6700-E73A-4C76-AB30-5E258848545C}" srcOrd="0" destOrd="6" presId="urn:microsoft.com/office/officeart/2005/8/layout/vList2"/>
    <dgm:cxn modelId="{7B359796-8208-416B-87AB-3ED7681CE617}" type="presOf" srcId="{F14462BD-F46E-4F75-B4C4-7601717293F9}" destId="{BF5A6700-E73A-4C76-AB30-5E258848545C}" srcOrd="0" destOrd="10" presId="urn:microsoft.com/office/officeart/2005/8/layout/vList2"/>
    <dgm:cxn modelId="{AD8E0212-5018-4F4D-BBC4-B61FCF34D9B4}" srcId="{26BE7C14-7621-4829-8FDB-F54722BBB351}" destId="{AC9F85D0-23ED-4CB3-8DE8-BF77519DDDF3}" srcOrd="4" destOrd="0" parTransId="{191FBFE0-9F3C-423E-92D4-0C25E68B60EA}" sibTransId="{A7827B90-875B-4258-9276-C2D591B8D9F7}"/>
    <dgm:cxn modelId="{9DAEB52A-1612-4427-9BC6-80AC9034B783}" srcId="{26BE7C14-7621-4829-8FDB-F54722BBB351}" destId="{0B24C4BC-DF72-480E-8AB6-A33062368E30}" srcOrd="5" destOrd="0" parTransId="{DD360B71-6DAB-490D-B4ED-D8E5A7019C94}" sibTransId="{9F80740D-813B-4BC7-B009-0F2196BEC139}"/>
    <dgm:cxn modelId="{04D6759C-61AE-4D3A-A0A9-876459329117}" type="presOf" srcId="{F331CA08-40E2-4C12-84C8-9AE7EC8B6DD6}" destId="{BF5A6700-E73A-4C76-AB30-5E258848545C}" srcOrd="0" destOrd="7" presId="urn:microsoft.com/office/officeart/2005/8/layout/vList2"/>
    <dgm:cxn modelId="{FAF12C1F-69B6-441D-8CB9-19D6CEB13058}" srcId="{26BE7C14-7621-4829-8FDB-F54722BBB351}" destId="{73F1E484-4E60-4DC2-9730-BF6E86925CD7}" srcOrd="8" destOrd="0" parTransId="{EB1E1E87-F21F-4F53-8F47-F59311033710}" sibTransId="{FD1D2FE1-2C4D-46D4-9C1D-D1D1113608A1}"/>
    <dgm:cxn modelId="{34781D73-82A6-4208-8671-41AB0CF24BF0}" srcId="{95A4E54D-3F39-4278-81F6-EA35748A6217}" destId="{3DD0C67D-9E7C-4989-BFCC-DE0109B91A7C}" srcOrd="0" destOrd="0" parTransId="{DEA64203-13AD-4CAE-9B19-3EA31140F007}" sibTransId="{13AB56D4-61DF-4F0D-930F-8A170CDBC13B}"/>
    <dgm:cxn modelId="{28863114-B43B-4EC7-8C48-B65AC1AD64CE}" type="presOf" srcId="{45ED6F3A-DA35-479A-954B-3B88A6823D5B}" destId="{BF5A6700-E73A-4C76-AB30-5E258848545C}" srcOrd="0" destOrd="11" presId="urn:microsoft.com/office/officeart/2005/8/layout/vList2"/>
    <dgm:cxn modelId="{94F7B1E3-59A8-470D-8100-AE3B6B567204}" srcId="{26BE7C14-7621-4829-8FDB-F54722BBB351}" destId="{45ED6F3A-DA35-479A-954B-3B88A6823D5B}" srcOrd="11" destOrd="0" parTransId="{8BCC2C7B-9BDC-4B71-B515-C1E0F588A6E3}" sibTransId="{2BA2969C-872A-417A-B3AB-66285E542535}"/>
    <dgm:cxn modelId="{1E996444-E1E3-4E98-B783-85DD22124600}" srcId="{95A4E54D-3F39-4278-81F6-EA35748A6217}" destId="{2184AAD6-9A2C-4FB3-9A61-3BE58C847A4B}" srcOrd="2" destOrd="0" parTransId="{24B454B5-1875-49DE-9F08-2210C4C1D9AF}" sibTransId="{4DB6EC1E-A778-4A17-9976-56B05301B08E}"/>
    <dgm:cxn modelId="{16323209-4E61-4054-93CB-24DD37508197}" srcId="{26BE7C14-7621-4829-8FDB-F54722BBB351}" destId="{F3E685CF-9490-4511-B061-9C350F7E8C63}" srcOrd="2" destOrd="0" parTransId="{33298F72-C92D-41B7-853A-94FD87E9A124}" sibTransId="{4CBF7E65-7C7D-479E-A620-387C7642F12D}"/>
    <dgm:cxn modelId="{0C8C9D90-74D8-4D15-9C97-65B70FC67DED}" type="presOf" srcId="{B3FBD9A1-9E96-4B05-ADA4-D676C242164F}" destId="{D4BDAF16-5A50-4FD6-98AF-A2BF05ACEC86}" srcOrd="0" destOrd="0" presId="urn:microsoft.com/office/officeart/2005/8/layout/vList2"/>
    <dgm:cxn modelId="{2B2EE841-41F0-4B59-899A-6AEB1ADDB49A}" type="presParOf" srcId="{D4BDAF16-5A50-4FD6-98AF-A2BF05ACEC86}" destId="{941B5F1E-BE5B-4512-8FFD-930037772452}" srcOrd="0" destOrd="0" presId="urn:microsoft.com/office/officeart/2005/8/layout/vList2"/>
    <dgm:cxn modelId="{86579E92-312A-4991-8F39-69E3BA96ACBE}" type="presParOf" srcId="{D4BDAF16-5A50-4FD6-98AF-A2BF05ACEC86}" destId="{135D980B-F227-4000-9869-2D5A8FA31B13}" srcOrd="1" destOrd="0" presId="urn:microsoft.com/office/officeart/2005/8/layout/vList2"/>
    <dgm:cxn modelId="{7F27F169-2492-41E2-BC68-358714D27D81}" type="presParOf" srcId="{D4BDAF16-5A50-4FD6-98AF-A2BF05ACEC86}" destId="{003283A4-BBAE-49F6-A32A-13D1CE661B99}" srcOrd="2" destOrd="0" presId="urn:microsoft.com/office/officeart/2005/8/layout/vList2"/>
    <dgm:cxn modelId="{6788C2B7-E064-41F5-A0F3-478AD477251E}" type="presParOf" srcId="{D4BDAF16-5A50-4FD6-98AF-A2BF05ACEC86}" destId="{BF5A6700-E73A-4C76-AB30-5E258848545C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9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4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chemeClr val="bg1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>
        <a:solidFill>
          <a:srgbClr val="E20074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>
        <a:solidFill>
          <a:schemeClr val="bg1"/>
        </a:solidFill>
      </dgm:spPr>
      <dgm:t>
        <a:bodyPr/>
        <a:lstStyle/>
        <a:p>
          <a:pPr algn="ctr"/>
          <a:r>
            <a:rPr lang="de-DE" sz="1100" dirty="0" smtClean="0">
              <a:solidFill>
                <a:srgbClr val="E20074"/>
              </a:solidFill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solidFill>
              <a:srgbClr val="E20074"/>
            </a:solidFill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CD4CBB1C-3290-49E8-902F-C400FB716F99}" type="presOf" srcId="{D14807FD-294C-4482-91EE-34C09B13669A}" destId="{BCE275B7-D1E9-4183-BABE-507E54E1C931}" srcOrd="0" destOrd="0" presId="urn:microsoft.com/office/officeart/2005/8/layout/chevron1"/>
    <dgm:cxn modelId="{49B3768B-4761-4DA5-BD7F-7E97F9A56E54}" type="presOf" srcId="{9C869D94-BD20-4CF6-9CAA-58E706B950F6}" destId="{0AECE453-CE2A-473C-BD27-70D00DA5B95C}" srcOrd="0" destOrd="0" presId="urn:microsoft.com/office/officeart/2005/8/layout/chevron1"/>
    <dgm:cxn modelId="{1BD085B3-6BD6-45D7-9C95-15A183859077}" type="presOf" srcId="{F351D095-D2C1-4F62-A18D-EFB4BA6E2AA9}" destId="{6BF66C9A-92D4-481D-A538-FD1A4E3DC0D5}" srcOrd="0" destOrd="0" presId="urn:microsoft.com/office/officeart/2005/8/layout/chevron1"/>
    <dgm:cxn modelId="{39EEAD83-045E-4871-A137-571C1B52AFDD}" type="presOf" srcId="{EB61DA86-9B86-4759-822E-DA32F7AA073E}" destId="{135DB1F4-89C2-4733-9521-42FD5CECF10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49ECEB75-3D7E-4A4B-88D7-63111705DF44}" type="presOf" srcId="{D0C25FB2-BCD9-40F2-AD7D-9958175F77A4}" destId="{3E9602A8-0A34-4630-A972-81E39BB9FA5D}" srcOrd="0" destOrd="0" presId="urn:microsoft.com/office/officeart/2005/8/layout/chevron1"/>
    <dgm:cxn modelId="{77266C9A-97FA-4238-8C20-FE577273CF54}" type="presParOf" srcId="{0AECE453-CE2A-473C-BD27-70D00DA5B95C}" destId="{135DB1F4-89C2-4733-9521-42FD5CECF10C}" srcOrd="0" destOrd="0" presId="urn:microsoft.com/office/officeart/2005/8/layout/chevron1"/>
    <dgm:cxn modelId="{0872DE74-7457-460C-90F4-04932B1859B2}" type="presParOf" srcId="{0AECE453-CE2A-473C-BD27-70D00DA5B95C}" destId="{E1C76734-9ABE-473C-AD4C-C4BF49F91E97}" srcOrd="1" destOrd="0" presId="urn:microsoft.com/office/officeart/2005/8/layout/chevron1"/>
    <dgm:cxn modelId="{00597E27-A911-4CD0-8194-D4B0D689D6F6}" type="presParOf" srcId="{0AECE453-CE2A-473C-BD27-70D00DA5B95C}" destId="{6BF66C9A-92D4-481D-A538-FD1A4E3DC0D5}" srcOrd="2" destOrd="0" presId="urn:microsoft.com/office/officeart/2005/8/layout/chevron1"/>
    <dgm:cxn modelId="{8FB10BC1-5306-4CAD-B545-C757EBE145FC}" type="presParOf" srcId="{0AECE453-CE2A-473C-BD27-70D00DA5B95C}" destId="{691CB221-7DD5-49BE-AC21-301798066F30}" srcOrd="3" destOrd="0" presId="urn:microsoft.com/office/officeart/2005/8/layout/chevron1"/>
    <dgm:cxn modelId="{6249EC5C-A956-42EB-8F17-72C927E0557A}" type="presParOf" srcId="{0AECE453-CE2A-473C-BD27-70D00DA5B95C}" destId="{3E9602A8-0A34-4630-A972-81E39BB9FA5D}" srcOrd="4" destOrd="0" presId="urn:microsoft.com/office/officeart/2005/8/layout/chevron1"/>
    <dgm:cxn modelId="{04B3EDFD-3572-4A78-981A-FDC8463F21AC}" type="presParOf" srcId="{0AECE453-CE2A-473C-BD27-70D00DA5B95C}" destId="{D0B9A118-173B-40DB-89B8-9F21FF5432C9}" srcOrd="5" destOrd="0" presId="urn:microsoft.com/office/officeart/2005/8/layout/chevron1"/>
    <dgm:cxn modelId="{AC1E325A-0D03-44B9-A024-E4BAA37631FE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57AC4395-4130-4197-B98E-5BE6C2999B44}" type="doc">
      <dgm:prSet loTypeId="urn:microsoft.com/office/officeart/2005/8/layout/pList2" loCatId="list" qsTypeId="urn:microsoft.com/office/officeart/2005/8/quickstyle/simple1" qsCatId="simple" csTypeId="urn:microsoft.com/office/officeart/2005/8/colors/accent0_2" csCatId="mainScheme" phldr="1"/>
      <dgm:spPr/>
    </dgm:pt>
    <dgm:pt modelId="{969C8280-CA1C-4316-8298-8C6DDAB11571}">
      <dgm:prSet phldrT="[Text]" custT="1"/>
      <dgm:spPr/>
      <dgm:t>
        <a:bodyPr/>
        <a:lstStyle/>
        <a:p>
          <a:pPr algn="ctr"/>
          <a:r>
            <a:rPr lang="de-DE" sz="12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Janika </a:t>
          </a:r>
          <a:r>
            <a:rPr lang="de-DE" sz="1200" b="1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Schäfer</a:t>
          </a:r>
        </a:p>
        <a:p>
          <a:pPr algn="ctr"/>
          <a:endParaRPr lang="de-DE" sz="1200" b="1" i="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u="sng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</a:t>
          </a:r>
        </a:p>
        <a:p>
          <a:pPr algn="l"/>
          <a:r>
            <a:rPr lang="de-DE" sz="900" b="0" i="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"/>
            </a:rPr>
            <a:t>janika-schaefer@telekom.de</a:t>
          </a:r>
          <a:endParaRPr lang="de-DE" sz="900" b="0" i="0" dirty="0" smtClean="0">
            <a:latin typeface="Arial" pitchFamily="34" charset="0"/>
            <a:cs typeface="Arial" pitchFamily="34" charset="0"/>
          </a:endParaRPr>
        </a:p>
        <a:p>
          <a:pPr algn="l"/>
          <a:endParaRPr lang="de-DE" sz="900" b="0" i="0" dirty="0" smtClean="0"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. 50</a:t>
          </a: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dirty="0" smtClean="0"/>
            <a:t>	</a:t>
          </a:r>
          <a:endParaRPr lang="de-DE" sz="1100" dirty="0"/>
        </a:p>
      </dgm:t>
    </dgm:pt>
    <dgm:pt modelId="{CC01A601-F528-4E32-875C-AA2B6D61820D}" type="parTrans" cxnId="{062CC515-A7BB-40FA-B21E-0B7AACEE5257}">
      <dgm:prSet/>
      <dgm:spPr/>
      <dgm:t>
        <a:bodyPr/>
        <a:lstStyle/>
        <a:p>
          <a:endParaRPr lang="de-DE"/>
        </a:p>
      </dgm:t>
    </dgm:pt>
    <dgm:pt modelId="{920232FB-D65A-4EF7-9D25-565535D2B7DA}" type="sibTrans" cxnId="{062CC515-A7BB-40FA-B21E-0B7AACEE5257}">
      <dgm:prSet/>
      <dgm:spPr/>
      <dgm:t>
        <a:bodyPr/>
        <a:lstStyle/>
        <a:p>
          <a:endParaRPr lang="de-DE"/>
        </a:p>
      </dgm:t>
    </dgm:pt>
    <dgm:pt modelId="{06F1E4C0-3933-48B7-B465-278FFD020B81}">
      <dgm:prSet phldrT="[Text]" custT="1"/>
      <dgm:spPr/>
      <dgm:t>
        <a:bodyPr/>
        <a:lstStyle/>
        <a:p>
          <a:pPr algn="ctr"/>
          <a:r>
            <a:rPr lang="de-DE" sz="12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driano Perri</a:t>
          </a:r>
        </a:p>
        <a:p>
          <a:pPr algn="ctr"/>
          <a:endParaRPr lang="de-DE" sz="1200" b="1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u="sng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algn="l"/>
          <a:r>
            <a:rPr lang="de-DE" sz="900" b="0" i="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2"/>
            </a:rPr>
            <a:t>adriano.perri@telekom.de</a:t>
          </a:r>
          <a:endParaRPr lang="de-DE" sz="900" b="0" i="0" dirty="0" smtClean="0">
            <a:latin typeface="Arial" pitchFamily="34" charset="0"/>
            <a:cs typeface="Arial" pitchFamily="34" charset="0"/>
            <a:hlinkClick xmlns:r="http://schemas.openxmlformats.org/officeDocument/2006/relationships" r:id="rId3"/>
          </a:endParaRPr>
        </a:p>
        <a:p>
          <a:pPr algn="l"/>
          <a:endParaRPr lang="de-DE" sz="1100" dirty="0" smtClean="0"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. 50</a:t>
          </a: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	</a:t>
          </a:r>
        </a:p>
      </dgm:t>
    </dgm:pt>
    <dgm:pt modelId="{8EDBE0C2-E021-43D5-B72E-418FA371BD2E}" type="parTrans" cxnId="{026DFC36-BEFB-46C2-A9D2-9498EEA78EA9}">
      <dgm:prSet/>
      <dgm:spPr/>
      <dgm:t>
        <a:bodyPr/>
        <a:lstStyle/>
        <a:p>
          <a:endParaRPr lang="de-DE"/>
        </a:p>
      </dgm:t>
    </dgm:pt>
    <dgm:pt modelId="{6A4CEAD5-33C1-4B18-8EF3-40747A51DB1B}" type="sibTrans" cxnId="{026DFC36-BEFB-46C2-A9D2-9498EEA78EA9}">
      <dgm:prSet/>
      <dgm:spPr/>
      <dgm:t>
        <a:bodyPr/>
        <a:lstStyle/>
        <a:p>
          <a:endParaRPr lang="de-DE"/>
        </a:p>
      </dgm:t>
    </dgm:pt>
    <dgm:pt modelId="{62A3779F-55A9-4DA5-9559-D00A5FA9A4DF}">
      <dgm:prSet phldrT="[Text]" custT="1"/>
      <dgm:spPr/>
      <dgm:t>
        <a:bodyPr/>
        <a:lstStyle/>
        <a:p>
          <a:pPr algn="ctr"/>
          <a:r>
            <a:rPr lang="de-DE" sz="12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Oliver Klippel</a:t>
          </a:r>
        </a:p>
        <a:p>
          <a:pPr algn="ctr"/>
          <a:endParaRPr lang="de-DE" sz="1200" b="1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u="sng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algn="l"/>
          <a:r>
            <a:rPr lang="de-DE" sz="900" b="0" i="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3"/>
            </a:rPr>
            <a:t>oliver.klippel@telekom.de</a:t>
          </a:r>
          <a:endParaRPr lang="de-DE" sz="900" b="0" i="0" dirty="0" smtClean="0">
            <a:latin typeface="Arial" pitchFamily="34" charset="0"/>
            <a:cs typeface="Arial" pitchFamily="34" charset="0"/>
            <a:hlinkClick xmlns:r="http://schemas.openxmlformats.org/officeDocument/2006/relationships" r:id="rId1"/>
          </a:endParaRPr>
        </a:p>
        <a:p>
          <a:pPr algn="l"/>
          <a:endParaRPr lang="de-DE" sz="1100" dirty="0" smtClean="0"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. 50</a:t>
          </a: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endParaRPr lang="de-DE" sz="1100" dirty="0" smtClean="0">
            <a:latin typeface="Arial" pitchFamily="34" charset="0"/>
            <a:cs typeface="Arial" pitchFamily="34" charset="0"/>
          </a:endParaRPr>
        </a:p>
      </dgm:t>
    </dgm:pt>
    <dgm:pt modelId="{D889D4D7-F148-4EB9-8DF4-D99F17156C31}" type="sibTrans" cxnId="{0BECBBBC-AD1E-4B40-A62F-574882ECE7B6}">
      <dgm:prSet/>
      <dgm:spPr/>
      <dgm:t>
        <a:bodyPr/>
        <a:lstStyle/>
        <a:p>
          <a:endParaRPr lang="de-DE"/>
        </a:p>
      </dgm:t>
    </dgm:pt>
    <dgm:pt modelId="{B7437E28-2BE9-442D-B5F5-E7D647FA86E9}" type="parTrans" cxnId="{0BECBBBC-AD1E-4B40-A62F-574882ECE7B6}">
      <dgm:prSet/>
      <dgm:spPr/>
      <dgm:t>
        <a:bodyPr/>
        <a:lstStyle/>
        <a:p>
          <a:endParaRPr lang="de-DE"/>
        </a:p>
      </dgm:t>
    </dgm:pt>
    <dgm:pt modelId="{A535AB3D-88CF-41BD-9478-1370676E8F79}">
      <dgm:prSet phldrT="[Text]" custT="1"/>
      <dgm:spPr/>
      <dgm:t>
        <a:bodyPr/>
        <a:lstStyle/>
        <a:p>
          <a:pPr algn="ctr"/>
          <a:r>
            <a:rPr lang="de-DE" sz="12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Frank Klöker</a:t>
          </a:r>
        </a:p>
        <a:p>
          <a:pPr algn="ctr"/>
          <a:endParaRPr lang="de-DE" sz="1200" b="1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u="sng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algn="l"/>
          <a:r>
            <a:rPr lang="de-DE" sz="900" b="0" i="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4"/>
            </a:rPr>
            <a:t>frank.kloeker@telekom.de</a:t>
          </a:r>
          <a:endParaRPr lang="de-DE" sz="900" b="0" i="0" dirty="0" smtClean="0">
            <a:latin typeface="Arial" pitchFamily="34" charset="0"/>
            <a:cs typeface="Arial" pitchFamily="34" charset="0"/>
            <a:hlinkClick xmlns:r="http://schemas.openxmlformats.org/officeDocument/2006/relationships" r:id="rId2"/>
          </a:endParaRPr>
        </a:p>
        <a:p>
          <a:pPr algn="l"/>
          <a:endParaRPr lang="de-DE" sz="1100" dirty="0" smtClean="0"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. 50</a:t>
          </a: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	</a:t>
          </a:r>
        </a:p>
      </dgm:t>
    </dgm:pt>
    <dgm:pt modelId="{7FE5693D-7CF3-4DE6-A1B3-D47BEA28C773}" type="parTrans" cxnId="{38EB6CB7-7764-4C73-9028-9AB6EE2F45E6}">
      <dgm:prSet/>
      <dgm:spPr/>
      <dgm:t>
        <a:bodyPr/>
        <a:lstStyle/>
        <a:p>
          <a:endParaRPr lang="de-DE"/>
        </a:p>
      </dgm:t>
    </dgm:pt>
    <dgm:pt modelId="{622B5EFE-8DCC-4954-9C84-62ED8C6A915C}" type="sibTrans" cxnId="{38EB6CB7-7764-4C73-9028-9AB6EE2F45E6}">
      <dgm:prSet/>
      <dgm:spPr/>
      <dgm:t>
        <a:bodyPr/>
        <a:lstStyle/>
        <a:p>
          <a:endParaRPr lang="de-DE"/>
        </a:p>
      </dgm:t>
    </dgm:pt>
    <dgm:pt modelId="{57ED5118-1790-45B2-817F-82A6638E60D2}" type="pres">
      <dgm:prSet presAssocID="{57AC4395-4130-4197-B98E-5BE6C2999B44}" presName="Name0" presStyleCnt="0">
        <dgm:presLayoutVars>
          <dgm:dir/>
          <dgm:resizeHandles val="exact"/>
        </dgm:presLayoutVars>
      </dgm:prSet>
      <dgm:spPr/>
    </dgm:pt>
    <dgm:pt modelId="{7EBEFCAF-EAB3-44B0-8F9A-87E8C01D6452}" type="pres">
      <dgm:prSet presAssocID="{57AC4395-4130-4197-B98E-5BE6C2999B44}" presName="bkgdShp" presStyleLbl="alignAccFollowNode1" presStyleIdx="0" presStyleCnt="1" custLinFactNeighborX="1172"/>
      <dgm:spPr/>
    </dgm:pt>
    <dgm:pt modelId="{53E74AF1-94FD-412C-BB5A-D4B972D2C4D7}" type="pres">
      <dgm:prSet presAssocID="{57AC4395-4130-4197-B98E-5BE6C2999B44}" presName="linComp" presStyleCnt="0"/>
      <dgm:spPr/>
    </dgm:pt>
    <dgm:pt modelId="{8D51302C-F1F5-4217-846D-256B0BEA32B0}" type="pres">
      <dgm:prSet presAssocID="{969C8280-CA1C-4316-8298-8C6DDAB11571}" presName="compNode" presStyleCnt="0"/>
      <dgm:spPr/>
    </dgm:pt>
    <dgm:pt modelId="{E3198BAB-B9C6-4C60-A044-A2B387319D04}" type="pres">
      <dgm:prSet presAssocID="{969C8280-CA1C-4316-8298-8C6DDAB11571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FBFB193-C70D-4A4B-B4FD-BBADFA80264D}" type="pres">
      <dgm:prSet presAssocID="{969C8280-CA1C-4316-8298-8C6DDAB11571}" presName="invisiNode" presStyleLbl="node1" presStyleIdx="0" presStyleCnt="4"/>
      <dgm:spPr/>
    </dgm:pt>
    <dgm:pt modelId="{63C34CD1-54D0-4CA7-BB0E-16F028C8DA3A}" type="pres">
      <dgm:prSet presAssocID="{969C8280-CA1C-4316-8298-8C6DDAB11571}" presName="imagNode" presStyleLbl="fgImgPlace1" presStyleIdx="0" presStyleCnt="4" custScaleX="65688"/>
      <dgm:spPr>
        <a:blipFill rotWithShape="0">
          <a:blip xmlns:r="http://schemas.openxmlformats.org/officeDocument/2006/relationships" r:embed="rId5"/>
          <a:stretch>
            <a:fillRect/>
          </a:stretch>
        </a:blipFill>
      </dgm:spPr>
    </dgm:pt>
    <dgm:pt modelId="{AD7FD66F-97B2-4B51-A238-AF9A0EDCE041}" type="pres">
      <dgm:prSet presAssocID="{920232FB-D65A-4EF7-9D25-565535D2B7DA}" presName="sibTrans" presStyleLbl="sibTrans2D1" presStyleIdx="0" presStyleCnt="0"/>
      <dgm:spPr/>
      <dgm:t>
        <a:bodyPr/>
        <a:lstStyle/>
        <a:p>
          <a:endParaRPr lang="de-DE"/>
        </a:p>
      </dgm:t>
    </dgm:pt>
    <dgm:pt modelId="{9C4F6DD4-523F-4F88-A650-1200F5AC438C}" type="pres">
      <dgm:prSet presAssocID="{62A3779F-55A9-4DA5-9559-D00A5FA9A4DF}" presName="compNode" presStyleCnt="0"/>
      <dgm:spPr/>
    </dgm:pt>
    <dgm:pt modelId="{7BF23177-841A-4D1D-855E-251E8943525E}" type="pres">
      <dgm:prSet presAssocID="{62A3779F-55A9-4DA5-9559-D00A5FA9A4DF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D19007D-6494-4F10-8675-353F3CDFBEC4}" type="pres">
      <dgm:prSet presAssocID="{62A3779F-55A9-4DA5-9559-D00A5FA9A4DF}" presName="invisiNode" presStyleLbl="node1" presStyleIdx="1" presStyleCnt="4"/>
      <dgm:spPr/>
    </dgm:pt>
    <dgm:pt modelId="{D3FD648B-60E4-4029-9DA6-BE2B4D2B4CBF}" type="pres">
      <dgm:prSet presAssocID="{62A3779F-55A9-4DA5-9559-D00A5FA9A4DF}" presName="imagNode" presStyleLbl="fgImgPlace1" presStyleIdx="1" presStyleCnt="4" custScaleX="73054"/>
      <dgm:spPr>
        <a:blipFill rotWithShape="0">
          <a:blip xmlns:r="http://schemas.openxmlformats.org/officeDocument/2006/relationships" r:embed="rId6"/>
          <a:stretch>
            <a:fillRect/>
          </a:stretch>
        </a:blipFill>
      </dgm:spPr>
    </dgm:pt>
    <dgm:pt modelId="{B5F7D992-9FE3-46DC-88AB-F9FB4EEDF815}" type="pres">
      <dgm:prSet presAssocID="{D889D4D7-F148-4EB9-8DF4-D99F17156C31}" presName="sibTrans" presStyleLbl="sibTrans2D1" presStyleIdx="0" presStyleCnt="0"/>
      <dgm:spPr/>
      <dgm:t>
        <a:bodyPr/>
        <a:lstStyle/>
        <a:p>
          <a:endParaRPr lang="de-DE"/>
        </a:p>
      </dgm:t>
    </dgm:pt>
    <dgm:pt modelId="{ABBBC5E0-5AE2-4A45-9F0B-A6FB5071F795}" type="pres">
      <dgm:prSet presAssocID="{06F1E4C0-3933-48B7-B465-278FFD020B81}" presName="compNode" presStyleCnt="0"/>
      <dgm:spPr/>
    </dgm:pt>
    <dgm:pt modelId="{C8B8A4A8-AC36-4440-ABC0-A80F7A3FC7A9}" type="pres">
      <dgm:prSet presAssocID="{06F1E4C0-3933-48B7-B465-278FFD020B81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716FF06-87E2-4961-82EE-50D39560AFCA}" type="pres">
      <dgm:prSet presAssocID="{06F1E4C0-3933-48B7-B465-278FFD020B81}" presName="invisiNode" presStyleLbl="node1" presStyleIdx="2" presStyleCnt="4"/>
      <dgm:spPr/>
    </dgm:pt>
    <dgm:pt modelId="{A6AC8A74-F87C-4B02-9448-DDBB12841FDC}" type="pres">
      <dgm:prSet presAssocID="{06F1E4C0-3933-48B7-B465-278FFD020B81}" presName="imagNode" presStyleLbl="fgImgPlace1" presStyleIdx="2" presStyleCnt="4" custScaleX="69641"/>
      <dgm:spPr>
        <a:blipFill rotWithShape="0">
          <a:blip xmlns:r="http://schemas.openxmlformats.org/officeDocument/2006/relationships" r:embed="rId7"/>
          <a:stretch>
            <a:fillRect/>
          </a:stretch>
        </a:blipFill>
      </dgm:spPr>
    </dgm:pt>
    <dgm:pt modelId="{10125C33-0F99-4D6A-8CE0-8E8E4B951029}" type="pres">
      <dgm:prSet presAssocID="{6A4CEAD5-33C1-4B18-8EF3-40747A51DB1B}" presName="sibTrans" presStyleLbl="sibTrans2D1" presStyleIdx="0" presStyleCnt="0"/>
      <dgm:spPr/>
      <dgm:t>
        <a:bodyPr/>
        <a:lstStyle/>
        <a:p>
          <a:endParaRPr lang="de-DE"/>
        </a:p>
      </dgm:t>
    </dgm:pt>
    <dgm:pt modelId="{403CD47D-6636-491B-AF96-CADA11F2DB13}" type="pres">
      <dgm:prSet presAssocID="{A535AB3D-88CF-41BD-9478-1370676E8F79}" presName="compNode" presStyleCnt="0"/>
      <dgm:spPr/>
    </dgm:pt>
    <dgm:pt modelId="{F3EAAE23-5CEE-4B31-8556-F61B9D1B2B74}" type="pres">
      <dgm:prSet presAssocID="{A535AB3D-88CF-41BD-9478-1370676E8F79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AB93904-F244-4777-B4DF-2E0D13BCFB74}" type="pres">
      <dgm:prSet presAssocID="{A535AB3D-88CF-41BD-9478-1370676E8F79}" presName="invisiNode" presStyleLbl="node1" presStyleIdx="3" presStyleCnt="4"/>
      <dgm:spPr/>
    </dgm:pt>
    <dgm:pt modelId="{3CFA2C21-08FD-4826-88F0-EC889468C537}" type="pres">
      <dgm:prSet presAssocID="{A535AB3D-88CF-41BD-9478-1370676E8F79}" presName="imagNode" presStyleLbl="fgImgPlace1" presStyleIdx="3" presStyleCnt="4" custScaleX="63184"/>
      <dgm:spPr>
        <a:blipFill rotWithShape="0">
          <a:blip xmlns:r="http://schemas.openxmlformats.org/officeDocument/2006/relationships" r:embed="rId8"/>
          <a:stretch>
            <a:fillRect/>
          </a:stretch>
        </a:blipFill>
      </dgm:spPr>
    </dgm:pt>
  </dgm:ptLst>
  <dgm:cxnLst>
    <dgm:cxn modelId="{7F70E41B-1727-4CF4-A72F-684BD078900A}" type="presOf" srcId="{D889D4D7-F148-4EB9-8DF4-D99F17156C31}" destId="{B5F7D992-9FE3-46DC-88AB-F9FB4EEDF815}" srcOrd="0" destOrd="0" presId="urn:microsoft.com/office/officeart/2005/8/layout/pList2"/>
    <dgm:cxn modelId="{765D7BFC-9979-4A3B-849C-AED7D5BE4327}" type="presOf" srcId="{6A4CEAD5-33C1-4B18-8EF3-40747A51DB1B}" destId="{10125C33-0F99-4D6A-8CE0-8E8E4B951029}" srcOrd="0" destOrd="0" presId="urn:microsoft.com/office/officeart/2005/8/layout/pList2"/>
    <dgm:cxn modelId="{0BECBBBC-AD1E-4B40-A62F-574882ECE7B6}" srcId="{57AC4395-4130-4197-B98E-5BE6C2999B44}" destId="{62A3779F-55A9-4DA5-9559-D00A5FA9A4DF}" srcOrd="1" destOrd="0" parTransId="{B7437E28-2BE9-442D-B5F5-E7D647FA86E9}" sibTransId="{D889D4D7-F148-4EB9-8DF4-D99F17156C31}"/>
    <dgm:cxn modelId="{3DF5EAC0-0D64-4FB9-B1E8-E758E4E6BB86}" type="presOf" srcId="{969C8280-CA1C-4316-8298-8C6DDAB11571}" destId="{E3198BAB-B9C6-4C60-A044-A2B387319D04}" srcOrd="0" destOrd="0" presId="urn:microsoft.com/office/officeart/2005/8/layout/pList2"/>
    <dgm:cxn modelId="{B484EB42-2F27-4EC7-8972-6842FC77D1E6}" type="presOf" srcId="{06F1E4C0-3933-48B7-B465-278FFD020B81}" destId="{C8B8A4A8-AC36-4440-ABC0-A80F7A3FC7A9}" srcOrd="0" destOrd="0" presId="urn:microsoft.com/office/officeart/2005/8/layout/pList2"/>
    <dgm:cxn modelId="{062CC515-A7BB-40FA-B21E-0B7AACEE5257}" srcId="{57AC4395-4130-4197-B98E-5BE6C2999B44}" destId="{969C8280-CA1C-4316-8298-8C6DDAB11571}" srcOrd="0" destOrd="0" parTransId="{CC01A601-F528-4E32-875C-AA2B6D61820D}" sibTransId="{920232FB-D65A-4EF7-9D25-565535D2B7DA}"/>
    <dgm:cxn modelId="{5F315D7D-7F81-4A16-A7D3-81495A1CD961}" type="presOf" srcId="{62A3779F-55A9-4DA5-9559-D00A5FA9A4DF}" destId="{7BF23177-841A-4D1D-855E-251E8943525E}" srcOrd="0" destOrd="0" presId="urn:microsoft.com/office/officeart/2005/8/layout/pList2"/>
    <dgm:cxn modelId="{026DFC36-BEFB-46C2-A9D2-9498EEA78EA9}" srcId="{57AC4395-4130-4197-B98E-5BE6C2999B44}" destId="{06F1E4C0-3933-48B7-B465-278FFD020B81}" srcOrd="2" destOrd="0" parTransId="{8EDBE0C2-E021-43D5-B72E-418FA371BD2E}" sibTransId="{6A4CEAD5-33C1-4B18-8EF3-40747A51DB1B}"/>
    <dgm:cxn modelId="{56DAA087-41C3-4A30-9F98-5DF6665C529B}" type="presOf" srcId="{920232FB-D65A-4EF7-9D25-565535D2B7DA}" destId="{AD7FD66F-97B2-4B51-A238-AF9A0EDCE041}" srcOrd="0" destOrd="0" presId="urn:microsoft.com/office/officeart/2005/8/layout/pList2"/>
    <dgm:cxn modelId="{AF0F7322-6707-408A-AFA5-4E75EA75CB91}" type="presOf" srcId="{57AC4395-4130-4197-B98E-5BE6C2999B44}" destId="{57ED5118-1790-45B2-817F-82A6638E60D2}" srcOrd="0" destOrd="0" presId="urn:microsoft.com/office/officeart/2005/8/layout/pList2"/>
    <dgm:cxn modelId="{38EB6CB7-7764-4C73-9028-9AB6EE2F45E6}" srcId="{57AC4395-4130-4197-B98E-5BE6C2999B44}" destId="{A535AB3D-88CF-41BD-9478-1370676E8F79}" srcOrd="3" destOrd="0" parTransId="{7FE5693D-7CF3-4DE6-A1B3-D47BEA28C773}" sibTransId="{622B5EFE-8DCC-4954-9C84-62ED8C6A915C}"/>
    <dgm:cxn modelId="{D447102D-B874-4A26-9123-1BE139341162}" type="presOf" srcId="{A535AB3D-88CF-41BD-9478-1370676E8F79}" destId="{F3EAAE23-5CEE-4B31-8556-F61B9D1B2B74}" srcOrd="0" destOrd="0" presId="urn:microsoft.com/office/officeart/2005/8/layout/pList2"/>
    <dgm:cxn modelId="{E79FA9BA-4FCC-4149-8192-4FCF470029EA}" type="presParOf" srcId="{57ED5118-1790-45B2-817F-82A6638E60D2}" destId="{7EBEFCAF-EAB3-44B0-8F9A-87E8C01D6452}" srcOrd="0" destOrd="0" presId="urn:microsoft.com/office/officeart/2005/8/layout/pList2"/>
    <dgm:cxn modelId="{AD9B6982-BAA9-4B5B-B53D-E82D98148848}" type="presParOf" srcId="{57ED5118-1790-45B2-817F-82A6638E60D2}" destId="{53E74AF1-94FD-412C-BB5A-D4B972D2C4D7}" srcOrd="1" destOrd="0" presId="urn:microsoft.com/office/officeart/2005/8/layout/pList2"/>
    <dgm:cxn modelId="{B779DAC2-756D-477B-9C9A-38FF9B15581B}" type="presParOf" srcId="{53E74AF1-94FD-412C-BB5A-D4B972D2C4D7}" destId="{8D51302C-F1F5-4217-846D-256B0BEA32B0}" srcOrd="0" destOrd="0" presId="urn:microsoft.com/office/officeart/2005/8/layout/pList2"/>
    <dgm:cxn modelId="{1F71B69A-A582-4763-A55B-B47143F28523}" type="presParOf" srcId="{8D51302C-F1F5-4217-846D-256B0BEA32B0}" destId="{E3198BAB-B9C6-4C60-A044-A2B387319D04}" srcOrd="0" destOrd="0" presId="urn:microsoft.com/office/officeart/2005/8/layout/pList2"/>
    <dgm:cxn modelId="{568436D3-4549-4FD9-AC76-C5AA002CB72B}" type="presParOf" srcId="{8D51302C-F1F5-4217-846D-256B0BEA32B0}" destId="{7FBFB193-C70D-4A4B-B4FD-BBADFA80264D}" srcOrd="1" destOrd="0" presId="urn:microsoft.com/office/officeart/2005/8/layout/pList2"/>
    <dgm:cxn modelId="{D77AF8DD-080C-40F4-856D-8D5913E41C8F}" type="presParOf" srcId="{8D51302C-F1F5-4217-846D-256B0BEA32B0}" destId="{63C34CD1-54D0-4CA7-BB0E-16F028C8DA3A}" srcOrd="2" destOrd="0" presId="urn:microsoft.com/office/officeart/2005/8/layout/pList2"/>
    <dgm:cxn modelId="{E539D712-B790-4820-AF22-40D2E32FDBCF}" type="presParOf" srcId="{53E74AF1-94FD-412C-BB5A-D4B972D2C4D7}" destId="{AD7FD66F-97B2-4B51-A238-AF9A0EDCE041}" srcOrd="1" destOrd="0" presId="urn:microsoft.com/office/officeart/2005/8/layout/pList2"/>
    <dgm:cxn modelId="{34C3907B-D9E4-4E68-AEF9-D1183093C487}" type="presParOf" srcId="{53E74AF1-94FD-412C-BB5A-D4B972D2C4D7}" destId="{9C4F6DD4-523F-4F88-A650-1200F5AC438C}" srcOrd="2" destOrd="0" presId="urn:microsoft.com/office/officeart/2005/8/layout/pList2"/>
    <dgm:cxn modelId="{423513EC-B204-4C5F-A32F-708744595610}" type="presParOf" srcId="{9C4F6DD4-523F-4F88-A650-1200F5AC438C}" destId="{7BF23177-841A-4D1D-855E-251E8943525E}" srcOrd="0" destOrd="0" presId="urn:microsoft.com/office/officeart/2005/8/layout/pList2"/>
    <dgm:cxn modelId="{443FF7D4-9461-462B-AF83-0E6DA92231E2}" type="presParOf" srcId="{9C4F6DD4-523F-4F88-A650-1200F5AC438C}" destId="{ED19007D-6494-4F10-8675-353F3CDFBEC4}" srcOrd="1" destOrd="0" presId="urn:microsoft.com/office/officeart/2005/8/layout/pList2"/>
    <dgm:cxn modelId="{8AB4F0AF-7FCD-4C66-93AD-4021610CAB00}" type="presParOf" srcId="{9C4F6DD4-523F-4F88-A650-1200F5AC438C}" destId="{D3FD648B-60E4-4029-9DA6-BE2B4D2B4CBF}" srcOrd="2" destOrd="0" presId="urn:microsoft.com/office/officeart/2005/8/layout/pList2"/>
    <dgm:cxn modelId="{FD2CDE8E-119E-4974-A779-61E21ED97E28}" type="presParOf" srcId="{53E74AF1-94FD-412C-BB5A-D4B972D2C4D7}" destId="{B5F7D992-9FE3-46DC-88AB-F9FB4EEDF815}" srcOrd="3" destOrd="0" presId="urn:microsoft.com/office/officeart/2005/8/layout/pList2"/>
    <dgm:cxn modelId="{E40E94FD-518F-4EE7-9E5D-87221479F436}" type="presParOf" srcId="{53E74AF1-94FD-412C-BB5A-D4B972D2C4D7}" destId="{ABBBC5E0-5AE2-4A45-9F0B-A6FB5071F795}" srcOrd="4" destOrd="0" presId="urn:microsoft.com/office/officeart/2005/8/layout/pList2"/>
    <dgm:cxn modelId="{A63B0631-5026-42F4-8F75-79410B8882A4}" type="presParOf" srcId="{ABBBC5E0-5AE2-4A45-9F0B-A6FB5071F795}" destId="{C8B8A4A8-AC36-4440-ABC0-A80F7A3FC7A9}" srcOrd="0" destOrd="0" presId="urn:microsoft.com/office/officeart/2005/8/layout/pList2"/>
    <dgm:cxn modelId="{9D7D82E5-8509-4399-95E5-FD3AFD594DB0}" type="presParOf" srcId="{ABBBC5E0-5AE2-4A45-9F0B-A6FB5071F795}" destId="{9716FF06-87E2-4961-82EE-50D39560AFCA}" srcOrd="1" destOrd="0" presId="urn:microsoft.com/office/officeart/2005/8/layout/pList2"/>
    <dgm:cxn modelId="{396FD370-CC85-48D7-A749-21D47924799B}" type="presParOf" srcId="{ABBBC5E0-5AE2-4A45-9F0B-A6FB5071F795}" destId="{A6AC8A74-F87C-4B02-9448-DDBB12841FDC}" srcOrd="2" destOrd="0" presId="urn:microsoft.com/office/officeart/2005/8/layout/pList2"/>
    <dgm:cxn modelId="{465102B7-DEB3-49F7-80C2-B8721CE2DF12}" type="presParOf" srcId="{53E74AF1-94FD-412C-BB5A-D4B972D2C4D7}" destId="{10125C33-0F99-4D6A-8CE0-8E8E4B951029}" srcOrd="5" destOrd="0" presId="urn:microsoft.com/office/officeart/2005/8/layout/pList2"/>
    <dgm:cxn modelId="{76633667-8D80-4903-8A01-81F7174819FE}" type="presParOf" srcId="{53E74AF1-94FD-412C-BB5A-D4B972D2C4D7}" destId="{403CD47D-6636-491B-AF96-CADA11F2DB13}" srcOrd="6" destOrd="0" presId="urn:microsoft.com/office/officeart/2005/8/layout/pList2"/>
    <dgm:cxn modelId="{F43E999E-2936-43AF-8FD0-9B8F5684B0D4}" type="presParOf" srcId="{403CD47D-6636-491B-AF96-CADA11F2DB13}" destId="{F3EAAE23-5CEE-4B31-8556-F61B9D1B2B74}" srcOrd="0" destOrd="0" presId="urn:microsoft.com/office/officeart/2005/8/layout/pList2"/>
    <dgm:cxn modelId="{C356F745-659D-47F0-A473-1CD1E2B630E1}" type="presParOf" srcId="{403CD47D-6636-491B-AF96-CADA11F2DB13}" destId="{3AB93904-F244-4777-B4DF-2E0D13BCFB74}" srcOrd="1" destOrd="0" presId="urn:microsoft.com/office/officeart/2005/8/layout/pList2"/>
    <dgm:cxn modelId="{FCA9142D-741D-4C7A-818A-E21468A1EB62}" type="presParOf" srcId="{403CD47D-6636-491B-AF96-CADA11F2DB13}" destId="{3CFA2C21-08FD-4826-88F0-EC889468C537}" srcOrd="2" destOrd="0" presId="urn:microsoft.com/office/officeart/2005/8/layout/pList2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Oliver Klippel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		23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	 	Berli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bitur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		IT specialist for systemintegratio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		Deutsche Telekom AG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		Business Applications &amp; Cloud Services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4EAC3585-C35B-475B-A0B4-C56466A81D6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until 2018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ECD1F08A-DD7D-40CD-85F0-57C1C3FD9C0F}" type="parTrans" cxnId="{F4F86C27-AFA9-4D24-A21E-4CA55B4A5B19}">
      <dgm:prSet/>
      <dgm:spPr/>
      <dgm:t>
        <a:bodyPr/>
        <a:lstStyle/>
        <a:p>
          <a:endParaRPr lang="de-DE"/>
        </a:p>
      </dgm:t>
    </dgm:pt>
    <dgm:pt modelId="{DA7AA25F-ADD3-45F0-9D4D-FD3B724A23B7}" type="sibTrans" cxnId="{F4F86C27-AFA9-4D24-A21E-4CA55B4A5B19}">
      <dgm:prSet/>
      <dgm:spPr/>
      <dgm:t>
        <a:bodyPr/>
        <a:lstStyle/>
        <a:p>
          <a:endParaRPr lang="de-DE"/>
        </a:p>
      </dgm:t>
    </dgm:pt>
    <dgm:pt modelId="{1AD24BB1-192C-41B0-9BBD-7C852060A32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1 semester computer science &amp; 1 semester media computer science 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135ABE8-DB13-4E71-A77A-D9A7DC2C3221}" type="parTrans" cxnId="{CBF79C02-385B-44CC-9FC8-DD6014A0A158}">
      <dgm:prSet/>
      <dgm:spPr/>
      <dgm:t>
        <a:bodyPr/>
        <a:lstStyle/>
        <a:p>
          <a:endParaRPr lang="de-DE"/>
        </a:p>
      </dgm:t>
    </dgm:pt>
    <dgm:pt modelId="{73304F28-F177-42F5-B1D8-382343E265ED}" type="sibTrans" cxnId="{CBF79C02-385B-44CC-9FC8-DD6014A0A158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044BD422-8EEE-488D-A8F2-EDCA2696FB18}" type="presOf" srcId="{8C253FF5-4B38-46AA-9604-5740D538721B}" destId="{36EDF564-50E4-47F9-8DB5-BE5E735EFF0D}" srcOrd="1" destOrd="0" presId="urn:microsoft.com/office/officeart/2005/8/layout/list1"/>
    <dgm:cxn modelId="{FB0666E7-641D-4DF9-8841-841652BD5CFA}" type="presOf" srcId="{4025DB9A-0ED1-4F00-BB3A-1E38CF3525C6}" destId="{2CFFDFEA-2A6E-4B3D-970A-80A69C636168}" srcOrd="0" destOrd="0" presId="urn:microsoft.com/office/officeart/2005/8/layout/list1"/>
    <dgm:cxn modelId="{2D58D5CE-9D91-4F07-8E12-6A92693E5802}" type="presOf" srcId="{2145B9AC-3DB4-49BD-8B9D-67935175CE51}" destId="{858BC837-E5A9-4C97-BB1B-4A6AFF7AC6A1}" srcOrd="0" destOrd="0" presId="urn:microsoft.com/office/officeart/2005/8/layout/list1"/>
    <dgm:cxn modelId="{C7D93F4E-1DEE-42C1-98E1-7C9BDD79FF3D}" type="presOf" srcId="{7568D8BD-3F6A-43A9-8AAE-FAA6DFA2E7E3}" destId="{4FBAF1EA-119C-4A7D-BED0-7FD2E02DC8D3}" srcOrd="0" destOrd="1" presId="urn:microsoft.com/office/officeart/2005/8/layout/list1"/>
    <dgm:cxn modelId="{99C47D28-3895-4D76-803F-358412998473}" type="presOf" srcId="{69659624-A646-42E4-A835-F1EBBBD9138B}" destId="{4FBAF1EA-119C-4A7D-BED0-7FD2E02DC8D3}" srcOrd="0" destOrd="0" presId="urn:microsoft.com/office/officeart/2005/8/layout/list1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952B7E3D-BA08-4E30-9AD0-437DE6240D23}" type="presOf" srcId="{3C07000C-9F24-45B6-AE25-D54ADF954BCD}" destId="{9BB4A022-7BE9-4D96-9DCD-74C58E8AC746}" srcOrd="0" destOrd="0" presId="urn:microsoft.com/office/officeart/2005/8/layout/list1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D55D1AF5-6F02-4BB3-A747-54E1F2AB6F05}" type="presOf" srcId="{8C253FF5-4B38-46AA-9604-5740D538721B}" destId="{0C7FECAC-14A2-4CFA-A84E-D34ECF27687B}" srcOrd="0" destOrd="0" presId="urn:microsoft.com/office/officeart/2005/8/layout/list1"/>
    <dgm:cxn modelId="{D1B3954B-44B7-4752-A9B0-FDE19880D0D9}" type="presOf" srcId="{601AD484-C774-4133-8EDD-E25DC144CF18}" destId="{1D380A2A-1436-4BC6-9682-4A6F1756B36A}" srcOrd="0" destOrd="0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F4F86C27-AFA9-4D24-A21E-4CA55B4A5B19}" srcId="{4025DB9A-0ED1-4F00-BB3A-1E38CF3525C6}" destId="{4EAC3585-C35B-475B-A0B4-C56466A81D68}" srcOrd="2" destOrd="0" parTransId="{ECD1F08A-DD7D-40CD-85F0-57C1C3FD9C0F}" sibTransId="{DA7AA25F-ADD3-45F0-9D4D-FD3B724A23B7}"/>
    <dgm:cxn modelId="{354369E9-2B49-4720-BC8C-F36BCAD5B0AF}" type="presOf" srcId="{3CDAD735-0FA4-4F18-A4FF-BF26A4239D57}" destId="{4FBAF1EA-119C-4A7D-BED0-7FD2E02DC8D3}" srcOrd="0" destOrd="2" presId="urn:microsoft.com/office/officeart/2005/8/layout/list1"/>
    <dgm:cxn modelId="{517E4665-D601-424E-94A5-92936D7F52A8}" type="presOf" srcId="{2145B9AC-3DB4-49BD-8B9D-67935175CE51}" destId="{6B6A897F-5665-48D8-ACE1-FC4B644D487D}" srcOrd="1" destOrd="0" presId="urn:microsoft.com/office/officeart/2005/8/layout/list1"/>
    <dgm:cxn modelId="{F02FFA32-7167-4C78-A070-8559E75B1081}" type="presOf" srcId="{1AD24BB1-192C-41B0-9BBD-7C852060A328}" destId="{148A2150-C136-4328-AEF5-922C2C3CE943}" srcOrd="0" destOrd="1" presId="urn:microsoft.com/office/officeart/2005/8/layout/list1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F08F8427-8361-4E43-A908-249D4EE9EE8C}" type="presOf" srcId="{54518278-5A2B-46A8-AB9B-56E9194056B6}" destId="{148A2150-C136-4328-AEF5-922C2C3CE943}" srcOrd="0" destOrd="0" presId="urn:microsoft.com/office/officeart/2005/8/layout/list1"/>
    <dgm:cxn modelId="{6293F7BC-9271-450A-AC1B-1EB8B4BFF2C1}" type="presOf" srcId="{D31ACE79-716D-4988-9827-903EFAC73783}" destId="{1D380A2A-1436-4BC6-9682-4A6F1756B36A}" srcOrd="0" destOrd="1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C6D4EFD1-512E-4FA5-9518-93CB2961D3C3}" type="presOf" srcId="{4025DB9A-0ED1-4F00-BB3A-1E38CF3525C6}" destId="{BA975037-BE6C-4B32-8DBF-C84C73617461}" srcOrd="1" destOrd="0" presId="urn:microsoft.com/office/officeart/2005/8/layout/list1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CBF79C02-385B-44CC-9FC8-DD6014A0A158}" srcId="{4025DB9A-0ED1-4F00-BB3A-1E38CF3525C6}" destId="{1AD24BB1-192C-41B0-9BBD-7C852060A328}" srcOrd="1" destOrd="0" parTransId="{2135ABE8-DB13-4E71-A77A-D9A7DC2C3221}" sibTransId="{73304F28-F177-42F5-B1D8-382343E265ED}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5303C278-B39B-4607-BC02-617E0DF96293}" type="presOf" srcId="{4EAC3585-C35B-475B-A0B4-C56466A81D68}" destId="{148A2150-C136-4328-AEF5-922C2C3CE943}" srcOrd="0" destOrd="2" presId="urn:microsoft.com/office/officeart/2005/8/layout/list1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97DE23F8-4528-454C-8369-06F1DA13A3F5}" type="presOf" srcId="{F2B4C515-55AA-47D4-9B31-B9AE1EADBD52}" destId="{1D380A2A-1436-4BC6-9682-4A6F1756B36A}" srcOrd="0" destOrd="2" presId="urn:microsoft.com/office/officeart/2005/8/layout/list1"/>
    <dgm:cxn modelId="{8421058C-B31F-442C-8B6C-795CD5FB8669}" type="presParOf" srcId="{9BB4A022-7BE9-4D96-9DCD-74C58E8AC746}" destId="{214F8A8D-5B2A-4C46-8AEB-8645900EAAFC}" srcOrd="0" destOrd="0" presId="urn:microsoft.com/office/officeart/2005/8/layout/list1"/>
    <dgm:cxn modelId="{84549979-48DE-49C6-BAA3-3BCDE286CFE7}" type="presParOf" srcId="{214F8A8D-5B2A-4C46-8AEB-8645900EAAFC}" destId="{0C7FECAC-14A2-4CFA-A84E-D34ECF27687B}" srcOrd="0" destOrd="0" presId="urn:microsoft.com/office/officeart/2005/8/layout/list1"/>
    <dgm:cxn modelId="{E7339797-2214-483C-908C-DD2BE3F2BAA7}" type="presParOf" srcId="{214F8A8D-5B2A-4C46-8AEB-8645900EAAFC}" destId="{36EDF564-50E4-47F9-8DB5-BE5E735EFF0D}" srcOrd="1" destOrd="0" presId="urn:microsoft.com/office/officeart/2005/8/layout/list1"/>
    <dgm:cxn modelId="{1E0663BB-19EE-4F3E-8A28-34907F7A0C49}" type="presParOf" srcId="{9BB4A022-7BE9-4D96-9DCD-74C58E8AC746}" destId="{0929419D-D828-4EB1-BE85-545FAC75147D}" srcOrd="1" destOrd="0" presId="urn:microsoft.com/office/officeart/2005/8/layout/list1"/>
    <dgm:cxn modelId="{759693FF-4819-40BC-8C7A-CF969EF6F7FC}" type="presParOf" srcId="{9BB4A022-7BE9-4D96-9DCD-74C58E8AC746}" destId="{4FBAF1EA-119C-4A7D-BED0-7FD2E02DC8D3}" srcOrd="2" destOrd="0" presId="urn:microsoft.com/office/officeart/2005/8/layout/list1"/>
    <dgm:cxn modelId="{C6EFA0C6-1E3E-420B-B737-EE1A97C3BA1E}" type="presParOf" srcId="{9BB4A022-7BE9-4D96-9DCD-74C58E8AC746}" destId="{3F047EE5-19F6-4FFB-A6EB-10F6CB893674}" srcOrd="3" destOrd="0" presId="urn:microsoft.com/office/officeart/2005/8/layout/list1"/>
    <dgm:cxn modelId="{229DBF2D-0277-4772-9F09-85A875D1D391}" type="presParOf" srcId="{9BB4A022-7BE9-4D96-9DCD-74C58E8AC746}" destId="{BD9540F2-B1BE-4B3B-A1A2-74B6265040F7}" srcOrd="4" destOrd="0" presId="urn:microsoft.com/office/officeart/2005/8/layout/list1"/>
    <dgm:cxn modelId="{774FF737-AC50-4986-A2D3-A4F45AEE7C57}" type="presParOf" srcId="{BD9540F2-B1BE-4B3B-A1A2-74B6265040F7}" destId="{2CFFDFEA-2A6E-4B3D-970A-80A69C636168}" srcOrd="0" destOrd="0" presId="urn:microsoft.com/office/officeart/2005/8/layout/list1"/>
    <dgm:cxn modelId="{DCD0F107-74C9-4FAF-88AA-0518279A8B60}" type="presParOf" srcId="{BD9540F2-B1BE-4B3B-A1A2-74B6265040F7}" destId="{BA975037-BE6C-4B32-8DBF-C84C73617461}" srcOrd="1" destOrd="0" presId="urn:microsoft.com/office/officeart/2005/8/layout/list1"/>
    <dgm:cxn modelId="{7F7F77A6-B4CC-4492-8E42-A64DD016F301}" type="presParOf" srcId="{9BB4A022-7BE9-4D96-9DCD-74C58E8AC746}" destId="{7B63C310-DF5C-4B83-921A-43B067EC887A}" srcOrd="5" destOrd="0" presId="urn:microsoft.com/office/officeart/2005/8/layout/list1"/>
    <dgm:cxn modelId="{ACAE161C-FB91-461E-9AEE-58C88A188DEB}" type="presParOf" srcId="{9BB4A022-7BE9-4D96-9DCD-74C58E8AC746}" destId="{148A2150-C136-4328-AEF5-922C2C3CE943}" srcOrd="6" destOrd="0" presId="urn:microsoft.com/office/officeart/2005/8/layout/list1"/>
    <dgm:cxn modelId="{9C5163A7-5A39-4F28-9524-5C31A67D09E4}" type="presParOf" srcId="{9BB4A022-7BE9-4D96-9DCD-74C58E8AC746}" destId="{0FC8BB4E-8250-4F46-B57E-26C6F3C17C11}" srcOrd="7" destOrd="0" presId="urn:microsoft.com/office/officeart/2005/8/layout/list1"/>
    <dgm:cxn modelId="{8FF1BA0A-BD3E-467E-962C-211562109692}" type="presParOf" srcId="{9BB4A022-7BE9-4D96-9DCD-74C58E8AC746}" destId="{730D1FBB-F471-4D30-A724-DB54D34EC6E9}" srcOrd="8" destOrd="0" presId="urn:microsoft.com/office/officeart/2005/8/layout/list1"/>
    <dgm:cxn modelId="{DB0059B3-FB09-4BCC-BE6B-2C553433BF72}" type="presParOf" srcId="{730D1FBB-F471-4D30-A724-DB54D34EC6E9}" destId="{858BC837-E5A9-4C97-BB1B-4A6AFF7AC6A1}" srcOrd="0" destOrd="0" presId="urn:microsoft.com/office/officeart/2005/8/layout/list1"/>
    <dgm:cxn modelId="{280A99DE-FC87-49C8-9959-EE05E384F328}" type="presParOf" srcId="{730D1FBB-F471-4D30-A724-DB54D34EC6E9}" destId="{6B6A897F-5665-48D8-ACE1-FC4B644D487D}" srcOrd="1" destOrd="0" presId="urn:microsoft.com/office/officeart/2005/8/layout/list1"/>
    <dgm:cxn modelId="{8E45A562-3932-4E47-871C-D9E3C2E2FA87}" type="presParOf" srcId="{9BB4A022-7BE9-4D96-9DCD-74C58E8AC746}" destId="{7140714F-DE80-44C7-8816-CA26445D9ECC}" srcOrd="9" destOrd="0" presId="urn:microsoft.com/office/officeart/2005/8/layout/list1"/>
    <dgm:cxn modelId="{74A6143D-88CE-4703-AD77-F6E0F59A4F1C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7EB6394-7129-43B9-B340-2818A2020F56}" type="presOf" srcId="{F351D095-D2C1-4F62-A18D-EFB4BA6E2AA9}" destId="{6BF66C9A-92D4-481D-A538-FD1A4E3DC0D5}" srcOrd="0" destOrd="0" presId="urn:microsoft.com/office/officeart/2005/8/layout/chevron1"/>
    <dgm:cxn modelId="{3484F67E-0869-4E77-986C-E79714D0A7BA}" type="presOf" srcId="{D0C25FB2-BCD9-40F2-AD7D-9958175F77A4}" destId="{3E9602A8-0A34-4630-A972-81E39BB9FA5D}" srcOrd="0" destOrd="0" presId="urn:microsoft.com/office/officeart/2005/8/layout/chevron1"/>
    <dgm:cxn modelId="{166328AD-D594-4AF1-AAB2-E0AFA3396D0C}" type="presOf" srcId="{D14807FD-294C-4482-91EE-34C09B13669A}" destId="{BCE275B7-D1E9-4183-BABE-507E54E1C931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DBB1BBFA-B915-43A9-8E2F-18689713B0E3}" type="presOf" srcId="{EB61DA86-9B86-4759-822E-DA32F7AA073E}" destId="{135DB1F4-89C2-4733-9521-42FD5CECF10C}" srcOrd="0" destOrd="0" presId="urn:microsoft.com/office/officeart/2005/8/layout/chevron1"/>
    <dgm:cxn modelId="{C539A95D-6E84-44FA-A365-6A8F7A92BD4A}" type="presOf" srcId="{9C869D94-BD20-4CF6-9CAA-58E706B950F6}" destId="{0AECE453-CE2A-473C-BD27-70D00DA5B95C}" srcOrd="0" destOrd="0" presId="urn:microsoft.com/office/officeart/2005/8/layout/chevron1"/>
    <dgm:cxn modelId="{6A500A71-80A7-41E8-9AA3-00D3E36FC79F}" type="presParOf" srcId="{0AECE453-CE2A-473C-BD27-70D00DA5B95C}" destId="{135DB1F4-89C2-4733-9521-42FD5CECF10C}" srcOrd="0" destOrd="0" presId="urn:microsoft.com/office/officeart/2005/8/layout/chevron1"/>
    <dgm:cxn modelId="{0EEE0E3E-796D-4A60-8EB6-668CADF25E65}" type="presParOf" srcId="{0AECE453-CE2A-473C-BD27-70D00DA5B95C}" destId="{E1C76734-9ABE-473C-AD4C-C4BF49F91E97}" srcOrd="1" destOrd="0" presId="urn:microsoft.com/office/officeart/2005/8/layout/chevron1"/>
    <dgm:cxn modelId="{8195E652-9179-4B74-A7BC-ADE809EBCE4F}" type="presParOf" srcId="{0AECE453-CE2A-473C-BD27-70D00DA5B95C}" destId="{6BF66C9A-92D4-481D-A538-FD1A4E3DC0D5}" srcOrd="2" destOrd="0" presId="urn:microsoft.com/office/officeart/2005/8/layout/chevron1"/>
    <dgm:cxn modelId="{42315A19-651D-4614-8A4B-17CB874717E2}" type="presParOf" srcId="{0AECE453-CE2A-473C-BD27-70D00DA5B95C}" destId="{691CB221-7DD5-49BE-AC21-301798066F30}" srcOrd="3" destOrd="0" presId="urn:microsoft.com/office/officeart/2005/8/layout/chevron1"/>
    <dgm:cxn modelId="{7C3AD42B-F8C0-4AFD-AE43-A37AC91AE0BC}" type="presParOf" srcId="{0AECE453-CE2A-473C-BD27-70D00DA5B95C}" destId="{3E9602A8-0A34-4630-A972-81E39BB9FA5D}" srcOrd="4" destOrd="0" presId="urn:microsoft.com/office/officeart/2005/8/layout/chevron1"/>
    <dgm:cxn modelId="{65F0498E-829D-447F-9441-7385C83C3546}" type="presParOf" srcId="{0AECE453-CE2A-473C-BD27-70D00DA5B95C}" destId="{D0B9A118-173B-40DB-89B8-9F21FF5432C9}" srcOrd="5" destOrd="0" presId="urn:microsoft.com/office/officeart/2005/8/layout/chevron1"/>
    <dgm:cxn modelId="{DF5F61D9-0087-4614-A4C4-FDAE6700F430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Janika Schäfer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 		21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to IT systems technicia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studying 	 	bachelor of engineering in communication &amp; media computer science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 		Deutsche Telekom AG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4EAC3585-C35B-475B-A0B4-C56466A81D6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inished 2015 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ECD1F08A-DD7D-40CD-85F0-57C1C3FD9C0F}" type="parTrans" cxnId="{F4F86C27-AFA9-4D24-A21E-4CA55B4A5B19}">
      <dgm:prSet/>
      <dgm:spPr/>
      <dgm:t>
        <a:bodyPr/>
        <a:lstStyle/>
        <a:p>
          <a:endParaRPr lang="de-DE"/>
        </a:p>
      </dgm:t>
    </dgm:pt>
    <dgm:pt modelId="{DA7AA25F-ADD3-45F0-9D4D-FD3B724A23B7}" type="sibTrans" cxnId="{F4F86C27-AFA9-4D24-A21E-4CA55B4A5B19}">
      <dgm:prSet/>
      <dgm:spPr/>
      <dgm:t>
        <a:bodyPr/>
        <a:lstStyle/>
        <a:p>
          <a:endParaRPr lang="de-DE"/>
        </a:p>
      </dgm:t>
    </dgm:pt>
    <dgm:pt modelId="{FFC1A143-CE45-4600-AE1D-BBB5AF931319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with Abitur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31F71D0-7DEC-43A3-A2BE-6FAF5BB8A0C2}" type="parTrans" cxnId="{D6C38B53-6341-43B7-9CE6-AABE5BB81237}">
      <dgm:prSet/>
      <dgm:spPr/>
      <dgm:t>
        <a:bodyPr/>
        <a:lstStyle/>
        <a:p>
          <a:endParaRPr lang="de-DE"/>
        </a:p>
      </dgm:t>
    </dgm:pt>
    <dgm:pt modelId="{2104D3C9-7B03-47C1-AD45-C5ABBCAF7C8D}" type="sibTrans" cxnId="{D6C38B53-6341-43B7-9CE6-AABE5BB81237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CD37381F-8461-4F6B-8BB2-5DFB6246903C}" type="presOf" srcId="{601AD484-C774-4133-8EDD-E25DC144CF18}" destId="{1D380A2A-1436-4BC6-9682-4A6F1756B36A}" srcOrd="0" destOrd="0" presId="urn:microsoft.com/office/officeart/2005/8/layout/list1"/>
    <dgm:cxn modelId="{17C38038-6D58-44B5-83FD-394A6F9FE1E8}" type="presOf" srcId="{8C253FF5-4B38-46AA-9604-5740D538721B}" destId="{0C7FECAC-14A2-4CFA-A84E-D34ECF27687B}" srcOrd="0" destOrd="0" presId="urn:microsoft.com/office/officeart/2005/8/layout/list1"/>
    <dgm:cxn modelId="{2394D862-52C3-4AF2-9B65-127A2DC44FFB}" type="presOf" srcId="{D31ACE79-716D-4988-9827-903EFAC73783}" destId="{1D380A2A-1436-4BC6-9682-4A6F1756B36A}" srcOrd="0" destOrd="1" presId="urn:microsoft.com/office/officeart/2005/8/layout/list1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374B72C4-02FE-41C9-B78F-4F11DF0548D3}" type="presOf" srcId="{2145B9AC-3DB4-49BD-8B9D-67935175CE51}" destId="{858BC837-E5A9-4C97-BB1B-4A6AFF7AC6A1}" srcOrd="0" destOrd="0" presId="urn:microsoft.com/office/officeart/2005/8/layout/list1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C3194774-658B-40A8-97BD-F414B7DF5040}" type="presOf" srcId="{69659624-A646-42E4-A835-F1EBBBD9138B}" destId="{4FBAF1EA-119C-4A7D-BED0-7FD2E02DC8D3}" srcOrd="0" destOrd="0" presId="urn:microsoft.com/office/officeart/2005/8/layout/list1"/>
    <dgm:cxn modelId="{0EFE5CA3-20BB-45DB-AA43-5B5AAC7D59CF}" type="presOf" srcId="{FFC1A143-CE45-4600-AE1D-BBB5AF931319}" destId="{148A2150-C136-4328-AEF5-922C2C3CE943}" srcOrd="0" destOrd="1" presId="urn:microsoft.com/office/officeart/2005/8/layout/list1"/>
    <dgm:cxn modelId="{F4F86C27-AFA9-4D24-A21E-4CA55B4A5B19}" srcId="{4025DB9A-0ED1-4F00-BB3A-1E38CF3525C6}" destId="{4EAC3585-C35B-475B-A0B4-C56466A81D68}" srcOrd="2" destOrd="0" parTransId="{ECD1F08A-DD7D-40CD-85F0-57C1C3FD9C0F}" sibTransId="{DA7AA25F-ADD3-45F0-9D4D-FD3B724A23B7}"/>
    <dgm:cxn modelId="{5AC87C79-A3AA-4776-BFAC-F88A5B5FFFA4}" type="presOf" srcId="{4EAC3585-C35B-475B-A0B4-C56466A81D68}" destId="{148A2150-C136-4328-AEF5-922C2C3CE943}" srcOrd="0" destOrd="2" presId="urn:microsoft.com/office/officeart/2005/8/layout/list1"/>
    <dgm:cxn modelId="{6448B1E9-2C43-4064-A2CD-327BE4DDF713}" type="presOf" srcId="{4025DB9A-0ED1-4F00-BB3A-1E38CF3525C6}" destId="{2CFFDFEA-2A6E-4B3D-970A-80A69C636168}" srcOrd="0" destOrd="0" presId="urn:microsoft.com/office/officeart/2005/8/layout/list1"/>
    <dgm:cxn modelId="{D6C38B53-6341-43B7-9CE6-AABE5BB81237}" srcId="{4025DB9A-0ED1-4F00-BB3A-1E38CF3525C6}" destId="{FFC1A143-CE45-4600-AE1D-BBB5AF931319}" srcOrd="1" destOrd="0" parTransId="{231F71D0-7DEC-43A3-A2BE-6FAF5BB8A0C2}" sibTransId="{2104D3C9-7B03-47C1-AD45-C5ABBCAF7C8D}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9566CEA8-9394-402B-8FD5-BEE409513AFF}" type="presOf" srcId="{F2B4C515-55AA-47D4-9B31-B9AE1EADBD52}" destId="{1D380A2A-1436-4BC6-9682-4A6F1756B36A}" srcOrd="0" destOrd="2" presId="urn:microsoft.com/office/officeart/2005/8/layout/list1"/>
    <dgm:cxn modelId="{3E1C9596-31D2-4D95-8FB1-8D7FC545811D}" type="presOf" srcId="{3C07000C-9F24-45B6-AE25-D54ADF954BCD}" destId="{9BB4A022-7BE9-4D96-9DCD-74C58E8AC746}" srcOrd="0" destOrd="0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9D4CF9AE-2977-47D2-9E41-2FEF7FBAD563}" type="presOf" srcId="{8C253FF5-4B38-46AA-9604-5740D538721B}" destId="{36EDF564-50E4-47F9-8DB5-BE5E735EFF0D}" srcOrd="1" destOrd="0" presId="urn:microsoft.com/office/officeart/2005/8/layout/list1"/>
    <dgm:cxn modelId="{B32E99EA-6D3F-4A16-852B-53F0D4A8D049}" type="presOf" srcId="{7568D8BD-3F6A-43A9-8AAE-FAA6DFA2E7E3}" destId="{4FBAF1EA-119C-4A7D-BED0-7FD2E02DC8D3}" srcOrd="0" destOrd="1" presId="urn:microsoft.com/office/officeart/2005/8/layout/list1"/>
    <dgm:cxn modelId="{318D0546-86A9-4A79-BBF9-A11C9A7EEE7B}" type="presOf" srcId="{2145B9AC-3DB4-49BD-8B9D-67935175CE51}" destId="{6B6A897F-5665-48D8-ACE1-FC4B644D487D}" srcOrd="1" destOrd="0" presId="urn:microsoft.com/office/officeart/2005/8/layout/list1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A121B6ED-A688-4DAC-819F-440D906B2FA7}" type="presOf" srcId="{54518278-5A2B-46A8-AB9B-56E9194056B6}" destId="{148A2150-C136-4328-AEF5-922C2C3CE943}" srcOrd="0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32303871-3562-46D2-8977-5E17A971CFC7}" type="presOf" srcId="{4025DB9A-0ED1-4F00-BB3A-1E38CF3525C6}" destId="{BA975037-BE6C-4B32-8DBF-C84C73617461}" srcOrd="1" destOrd="0" presId="urn:microsoft.com/office/officeart/2005/8/layout/list1"/>
    <dgm:cxn modelId="{41E77E24-A0FF-47ED-9BBA-4C6786936822}" type="presOf" srcId="{3CDAD735-0FA4-4F18-A4FF-BF26A4239D57}" destId="{4FBAF1EA-119C-4A7D-BED0-7FD2E02DC8D3}" srcOrd="0" destOrd="2" presId="urn:microsoft.com/office/officeart/2005/8/layout/list1"/>
    <dgm:cxn modelId="{1AF21B8E-5DB5-4318-AEF8-53A96EB427F9}" type="presParOf" srcId="{9BB4A022-7BE9-4D96-9DCD-74C58E8AC746}" destId="{214F8A8D-5B2A-4C46-8AEB-8645900EAAFC}" srcOrd="0" destOrd="0" presId="urn:microsoft.com/office/officeart/2005/8/layout/list1"/>
    <dgm:cxn modelId="{EF547ABA-321A-430D-9C44-582901970219}" type="presParOf" srcId="{214F8A8D-5B2A-4C46-8AEB-8645900EAAFC}" destId="{0C7FECAC-14A2-4CFA-A84E-D34ECF27687B}" srcOrd="0" destOrd="0" presId="urn:microsoft.com/office/officeart/2005/8/layout/list1"/>
    <dgm:cxn modelId="{E5A88803-9000-4789-9FEE-F174035FEFC7}" type="presParOf" srcId="{214F8A8D-5B2A-4C46-8AEB-8645900EAAFC}" destId="{36EDF564-50E4-47F9-8DB5-BE5E735EFF0D}" srcOrd="1" destOrd="0" presId="urn:microsoft.com/office/officeart/2005/8/layout/list1"/>
    <dgm:cxn modelId="{1D240E02-5154-47CB-BDA5-D14CFB985304}" type="presParOf" srcId="{9BB4A022-7BE9-4D96-9DCD-74C58E8AC746}" destId="{0929419D-D828-4EB1-BE85-545FAC75147D}" srcOrd="1" destOrd="0" presId="urn:microsoft.com/office/officeart/2005/8/layout/list1"/>
    <dgm:cxn modelId="{DF442C3E-7D63-4F3D-BA6D-DB2B59CE7A02}" type="presParOf" srcId="{9BB4A022-7BE9-4D96-9DCD-74C58E8AC746}" destId="{4FBAF1EA-119C-4A7D-BED0-7FD2E02DC8D3}" srcOrd="2" destOrd="0" presId="urn:microsoft.com/office/officeart/2005/8/layout/list1"/>
    <dgm:cxn modelId="{698EAD7D-9C51-47FF-AA96-50EC25330187}" type="presParOf" srcId="{9BB4A022-7BE9-4D96-9DCD-74C58E8AC746}" destId="{3F047EE5-19F6-4FFB-A6EB-10F6CB893674}" srcOrd="3" destOrd="0" presId="urn:microsoft.com/office/officeart/2005/8/layout/list1"/>
    <dgm:cxn modelId="{69A71FFB-659D-4D2A-9723-363D19F60A12}" type="presParOf" srcId="{9BB4A022-7BE9-4D96-9DCD-74C58E8AC746}" destId="{BD9540F2-B1BE-4B3B-A1A2-74B6265040F7}" srcOrd="4" destOrd="0" presId="urn:microsoft.com/office/officeart/2005/8/layout/list1"/>
    <dgm:cxn modelId="{31A9E7B1-0857-481A-A18F-D5101AF684FE}" type="presParOf" srcId="{BD9540F2-B1BE-4B3B-A1A2-74B6265040F7}" destId="{2CFFDFEA-2A6E-4B3D-970A-80A69C636168}" srcOrd="0" destOrd="0" presId="urn:microsoft.com/office/officeart/2005/8/layout/list1"/>
    <dgm:cxn modelId="{2AB0A4E6-450E-430D-B3DE-4E87CFC3511D}" type="presParOf" srcId="{BD9540F2-B1BE-4B3B-A1A2-74B6265040F7}" destId="{BA975037-BE6C-4B32-8DBF-C84C73617461}" srcOrd="1" destOrd="0" presId="urn:microsoft.com/office/officeart/2005/8/layout/list1"/>
    <dgm:cxn modelId="{268F7E8F-9183-4D40-A869-D21BA20FA223}" type="presParOf" srcId="{9BB4A022-7BE9-4D96-9DCD-74C58E8AC746}" destId="{7B63C310-DF5C-4B83-921A-43B067EC887A}" srcOrd="5" destOrd="0" presId="urn:microsoft.com/office/officeart/2005/8/layout/list1"/>
    <dgm:cxn modelId="{C6470B69-6E9F-4CD3-A13A-30591FE5E4E2}" type="presParOf" srcId="{9BB4A022-7BE9-4D96-9DCD-74C58E8AC746}" destId="{148A2150-C136-4328-AEF5-922C2C3CE943}" srcOrd="6" destOrd="0" presId="urn:microsoft.com/office/officeart/2005/8/layout/list1"/>
    <dgm:cxn modelId="{78870F87-F4FA-4E21-98E1-2E0B479203A3}" type="presParOf" srcId="{9BB4A022-7BE9-4D96-9DCD-74C58E8AC746}" destId="{0FC8BB4E-8250-4F46-B57E-26C6F3C17C11}" srcOrd="7" destOrd="0" presId="urn:microsoft.com/office/officeart/2005/8/layout/list1"/>
    <dgm:cxn modelId="{8692EA50-B1A7-42B6-8D79-67936A030AFA}" type="presParOf" srcId="{9BB4A022-7BE9-4D96-9DCD-74C58E8AC746}" destId="{730D1FBB-F471-4D30-A724-DB54D34EC6E9}" srcOrd="8" destOrd="0" presId="urn:microsoft.com/office/officeart/2005/8/layout/list1"/>
    <dgm:cxn modelId="{BCFF49A8-CA87-4DAA-82EC-E3A31D6CD967}" type="presParOf" srcId="{730D1FBB-F471-4D30-A724-DB54D34EC6E9}" destId="{858BC837-E5A9-4C97-BB1B-4A6AFF7AC6A1}" srcOrd="0" destOrd="0" presId="urn:microsoft.com/office/officeart/2005/8/layout/list1"/>
    <dgm:cxn modelId="{4FA920B6-44C2-47DD-83A4-4B04D4B50F48}" type="presParOf" srcId="{730D1FBB-F471-4D30-A724-DB54D34EC6E9}" destId="{6B6A897F-5665-48D8-ACE1-FC4B644D487D}" srcOrd="1" destOrd="0" presId="urn:microsoft.com/office/officeart/2005/8/layout/list1"/>
    <dgm:cxn modelId="{6C8DEBB6-B760-4011-B9A5-765B4A0B2C7C}" type="presParOf" srcId="{9BB4A022-7BE9-4D96-9DCD-74C58E8AC746}" destId="{7140714F-DE80-44C7-8816-CA26445D9ECC}" srcOrd="9" destOrd="0" presId="urn:microsoft.com/office/officeart/2005/8/layout/list1"/>
    <dgm:cxn modelId="{ED027E18-D8BA-4BBE-B9DF-66D716CB10B4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04E0B180-B3D7-463C-B65E-EE10967E89A0}" type="presOf" srcId="{EB61DA86-9B86-4759-822E-DA32F7AA073E}" destId="{135DB1F4-89C2-4733-9521-42FD5CECF10C}" srcOrd="0" destOrd="0" presId="urn:microsoft.com/office/officeart/2005/8/layout/chevron1"/>
    <dgm:cxn modelId="{95634B89-CEA5-4C28-9BE1-DC2EF0324562}" type="presOf" srcId="{F351D095-D2C1-4F62-A18D-EFB4BA6E2AA9}" destId="{6BF66C9A-92D4-481D-A538-FD1A4E3DC0D5}" srcOrd="0" destOrd="0" presId="urn:microsoft.com/office/officeart/2005/8/layout/chevron1"/>
    <dgm:cxn modelId="{4492097A-4FE7-4DFF-9D89-C6FAC0A153D9}" type="presOf" srcId="{D0C25FB2-BCD9-40F2-AD7D-9958175F77A4}" destId="{3E9602A8-0A34-4630-A972-81E39BB9FA5D}" srcOrd="0" destOrd="0" presId="urn:microsoft.com/office/officeart/2005/8/layout/chevron1"/>
    <dgm:cxn modelId="{850F9C60-EDCA-42D0-BE9C-808524A21810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0259E106-B53C-4658-9AAD-6AE00F2DBCBD}" type="presOf" srcId="{D14807FD-294C-4482-91EE-34C09B13669A}" destId="{BCE275B7-D1E9-4183-BABE-507E54E1C931}" srcOrd="0" destOrd="0" presId="urn:microsoft.com/office/officeart/2005/8/layout/chevron1"/>
    <dgm:cxn modelId="{F7BB3D0E-96D0-44E5-85B1-7304C4F0EA58}" type="presParOf" srcId="{0AECE453-CE2A-473C-BD27-70D00DA5B95C}" destId="{135DB1F4-89C2-4733-9521-42FD5CECF10C}" srcOrd="0" destOrd="0" presId="urn:microsoft.com/office/officeart/2005/8/layout/chevron1"/>
    <dgm:cxn modelId="{876C5AE3-74D8-4734-8C39-14A6E94D0ADD}" type="presParOf" srcId="{0AECE453-CE2A-473C-BD27-70D00DA5B95C}" destId="{E1C76734-9ABE-473C-AD4C-C4BF49F91E97}" srcOrd="1" destOrd="0" presId="urn:microsoft.com/office/officeart/2005/8/layout/chevron1"/>
    <dgm:cxn modelId="{40C15620-3645-4553-905E-BD46B338CADF}" type="presParOf" srcId="{0AECE453-CE2A-473C-BD27-70D00DA5B95C}" destId="{6BF66C9A-92D4-481D-A538-FD1A4E3DC0D5}" srcOrd="2" destOrd="0" presId="urn:microsoft.com/office/officeart/2005/8/layout/chevron1"/>
    <dgm:cxn modelId="{6E20B9D7-5807-48B3-BCE5-31D1F5042C68}" type="presParOf" srcId="{0AECE453-CE2A-473C-BD27-70D00DA5B95C}" destId="{691CB221-7DD5-49BE-AC21-301798066F30}" srcOrd="3" destOrd="0" presId="urn:microsoft.com/office/officeart/2005/8/layout/chevron1"/>
    <dgm:cxn modelId="{703FA483-6DAF-4816-97AC-073FEAA40DC9}" type="presParOf" srcId="{0AECE453-CE2A-473C-BD27-70D00DA5B95C}" destId="{3E9602A8-0A34-4630-A972-81E39BB9FA5D}" srcOrd="4" destOrd="0" presId="urn:microsoft.com/office/officeart/2005/8/layout/chevron1"/>
    <dgm:cxn modelId="{C0FD1F9B-EA42-439F-A55F-4F9AFC222F8F}" type="presParOf" srcId="{0AECE453-CE2A-473C-BD27-70D00DA5B95C}" destId="{D0B9A118-173B-40DB-89B8-9F21FF5432C9}" srcOrd="5" destOrd="0" presId="urn:microsoft.com/office/officeart/2005/8/layout/chevron1"/>
    <dgm:cxn modelId="{E3BDA5AB-D5DA-425E-8642-AFC62AC561F7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Adriano Perri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 		23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bitur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A6DD347C-12CA-48C6-9438-B357F2A1BA84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studied 2 semester geoecology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A5D3319-98A8-4A4A-AA08-8389F0C6D90E}" type="parTrans" cxnId="{9393A224-1B1A-4125-8128-C0D8DCEA7BA4}">
      <dgm:prSet/>
      <dgm:spPr/>
      <dgm:t>
        <a:bodyPr/>
        <a:lstStyle/>
        <a:p>
          <a:endParaRPr lang="de-DE"/>
        </a:p>
      </dgm:t>
    </dgm:pt>
    <dgm:pt modelId="{2F4C50C8-72B2-47C9-B2A2-D8033F70A25B}" type="sibTrans" cxnId="{9393A224-1B1A-4125-8128-C0D8DCEA7BA4}">
      <dgm:prSet/>
      <dgm:spPr/>
      <dgm:t>
        <a:bodyPr/>
        <a:lstStyle/>
        <a:p>
          <a:endParaRPr lang="de-DE"/>
        </a:p>
      </dgm:t>
    </dgm:pt>
    <dgm:pt modelId="{DC522296-EE52-4299-A763-BCD34F51752A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until 2018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A52F281-4C65-4DCA-98B0-8D42F02E6060}" type="parTrans" cxnId="{BF988CC3-A510-4F7B-ADF4-BE153F9C01FA}">
      <dgm:prSet/>
      <dgm:spPr/>
      <dgm:t>
        <a:bodyPr/>
        <a:lstStyle/>
        <a:p>
          <a:endParaRPr lang="de-DE"/>
        </a:p>
      </dgm:t>
    </dgm:pt>
    <dgm:pt modelId="{CC3AD089-EB47-4F29-889D-F4B421E6D6B9}" type="sibTrans" cxnId="{BF988CC3-A510-4F7B-ADF4-BE153F9C01FA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 		management assistant in IT systems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		Deutsche Telekom AG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5758A95B-945B-470D-B80D-DD5460CF35E9}" type="presOf" srcId="{4025DB9A-0ED1-4F00-BB3A-1E38CF3525C6}" destId="{BA975037-BE6C-4B32-8DBF-C84C73617461}" srcOrd="1" destOrd="0" presId="urn:microsoft.com/office/officeart/2005/8/layout/list1"/>
    <dgm:cxn modelId="{78855907-D125-41B1-9242-DB2BDF1B63D7}" type="presOf" srcId="{F2B4C515-55AA-47D4-9B31-B9AE1EADBD52}" destId="{1D380A2A-1436-4BC6-9682-4A6F1756B36A}" srcOrd="0" destOrd="2" presId="urn:microsoft.com/office/officeart/2005/8/layout/list1"/>
    <dgm:cxn modelId="{428324D0-1ECD-41E6-8B22-E5EE3DCA9F54}" type="presOf" srcId="{54518278-5A2B-46A8-AB9B-56E9194056B6}" destId="{148A2150-C136-4328-AEF5-922C2C3CE943}" srcOrd="0" destOrd="0" presId="urn:microsoft.com/office/officeart/2005/8/layout/list1"/>
    <dgm:cxn modelId="{4E11255A-2945-4899-9D96-6D4CA38AFF1E}" type="presOf" srcId="{3CDAD735-0FA4-4F18-A4FF-BF26A4239D57}" destId="{4FBAF1EA-119C-4A7D-BED0-7FD2E02DC8D3}" srcOrd="0" destOrd="2" presId="urn:microsoft.com/office/officeart/2005/8/layout/list1"/>
    <dgm:cxn modelId="{F326C37E-8B8A-4EC6-BDE6-7886779238FD}" type="presOf" srcId="{D31ACE79-716D-4988-9827-903EFAC73783}" destId="{1D380A2A-1436-4BC6-9682-4A6F1756B36A}" srcOrd="0" destOrd="1" presId="urn:microsoft.com/office/officeart/2005/8/layout/list1"/>
    <dgm:cxn modelId="{BF988CC3-A510-4F7B-ADF4-BE153F9C01FA}" srcId="{4025DB9A-0ED1-4F00-BB3A-1E38CF3525C6}" destId="{DC522296-EE52-4299-A763-BCD34F51752A}" srcOrd="2" destOrd="0" parTransId="{FA52F281-4C65-4DCA-98B0-8D42F02E6060}" sibTransId="{CC3AD089-EB47-4F29-889D-F4B421E6D6B9}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3F5C76E2-6156-42BC-BFF5-3FAA425C9BFB}" type="presOf" srcId="{601AD484-C774-4133-8EDD-E25DC144CF18}" destId="{1D380A2A-1436-4BC6-9682-4A6F1756B36A}" srcOrd="0" destOrd="0" presId="urn:microsoft.com/office/officeart/2005/8/layout/list1"/>
    <dgm:cxn modelId="{9393A224-1B1A-4125-8128-C0D8DCEA7BA4}" srcId="{4025DB9A-0ED1-4F00-BB3A-1E38CF3525C6}" destId="{A6DD347C-12CA-48C6-9438-B357F2A1BA84}" srcOrd="1" destOrd="0" parTransId="{8A5D3319-98A8-4A4A-AA08-8389F0C6D90E}" sibTransId="{2F4C50C8-72B2-47C9-B2A2-D8033F70A25B}"/>
    <dgm:cxn modelId="{E303B71F-2B24-43B6-978E-E94CF7F5C781}" type="presOf" srcId="{69659624-A646-42E4-A835-F1EBBBD9138B}" destId="{4FBAF1EA-119C-4A7D-BED0-7FD2E02DC8D3}" srcOrd="0" destOrd="0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0E60C8CA-0AEF-43B7-8ACE-91D9A5926179}" type="presOf" srcId="{8C253FF5-4B38-46AA-9604-5740D538721B}" destId="{36EDF564-50E4-47F9-8DB5-BE5E735EFF0D}" srcOrd="1" destOrd="0" presId="urn:microsoft.com/office/officeart/2005/8/layout/list1"/>
    <dgm:cxn modelId="{709BDF09-3AC8-4436-8014-7CBD59F85A90}" type="presOf" srcId="{DC522296-EE52-4299-A763-BCD34F51752A}" destId="{148A2150-C136-4328-AEF5-922C2C3CE943}" srcOrd="0" destOrd="2" presId="urn:microsoft.com/office/officeart/2005/8/layout/list1"/>
    <dgm:cxn modelId="{49C6BEC3-CE98-4814-AB24-2E4155003D6E}" type="presOf" srcId="{4025DB9A-0ED1-4F00-BB3A-1E38CF3525C6}" destId="{2CFFDFEA-2A6E-4B3D-970A-80A69C636168}" srcOrd="0" destOrd="0" presId="urn:microsoft.com/office/officeart/2005/8/layout/list1"/>
    <dgm:cxn modelId="{C75B5AF6-9087-417E-B0BC-C691717A9315}" type="presOf" srcId="{2145B9AC-3DB4-49BD-8B9D-67935175CE51}" destId="{858BC837-E5A9-4C97-BB1B-4A6AFF7AC6A1}" srcOrd="0" destOrd="0" presId="urn:microsoft.com/office/officeart/2005/8/layout/list1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5A7479F9-14AA-4047-A735-8D233D5BE826}" type="presOf" srcId="{8C253FF5-4B38-46AA-9604-5740D538721B}" destId="{0C7FECAC-14A2-4CFA-A84E-D34ECF27687B}" srcOrd="0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E1F154BD-1541-4D64-B15E-6C46B7CDCDCE}" type="presOf" srcId="{A6DD347C-12CA-48C6-9438-B357F2A1BA84}" destId="{148A2150-C136-4328-AEF5-922C2C3CE943}" srcOrd="0" destOrd="1" presId="urn:microsoft.com/office/officeart/2005/8/layout/list1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8A0C9DB4-05F9-486D-85BB-CA5CBDEA62C3}" type="presOf" srcId="{2145B9AC-3DB4-49BD-8B9D-67935175CE51}" destId="{6B6A897F-5665-48D8-ACE1-FC4B644D487D}" srcOrd="1" destOrd="0" presId="urn:microsoft.com/office/officeart/2005/8/layout/list1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7436C8D2-6CB2-45A8-AF83-ADAF2D95A657}" type="presOf" srcId="{7568D8BD-3F6A-43A9-8AAE-FAA6DFA2E7E3}" destId="{4FBAF1EA-119C-4A7D-BED0-7FD2E02DC8D3}" srcOrd="0" destOrd="1" presId="urn:microsoft.com/office/officeart/2005/8/layout/list1"/>
    <dgm:cxn modelId="{AE3CCFFF-E575-4D38-BACD-4E78B6FADF92}" type="presOf" srcId="{3C07000C-9F24-45B6-AE25-D54ADF954BCD}" destId="{9BB4A022-7BE9-4D96-9DCD-74C58E8AC746}" srcOrd="0" destOrd="0" presId="urn:microsoft.com/office/officeart/2005/8/layout/list1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251085B4-4C01-4350-8F0D-9F4125005456}" type="presParOf" srcId="{9BB4A022-7BE9-4D96-9DCD-74C58E8AC746}" destId="{214F8A8D-5B2A-4C46-8AEB-8645900EAAFC}" srcOrd="0" destOrd="0" presId="urn:microsoft.com/office/officeart/2005/8/layout/list1"/>
    <dgm:cxn modelId="{B005E101-56DD-4FED-AFA1-0888D12BA261}" type="presParOf" srcId="{214F8A8D-5B2A-4C46-8AEB-8645900EAAFC}" destId="{0C7FECAC-14A2-4CFA-A84E-D34ECF27687B}" srcOrd="0" destOrd="0" presId="urn:microsoft.com/office/officeart/2005/8/layout/list1"/>
    <dgm:cxn modelId="{8B9E53C9-D698-4465-BDF8-D29DCCECDF9D}" type="presParOf" srcId="{214F8A8D-5B2A-4C46-8AEB-8645900EAAFC}" destId="{36EDF564-50E4-47F9-8DB5-BE5E735EFF0D}" srcOrd="1" destOrd="0" presId="urn:microsoft.com/office/officeart/2005/8/layout/list1"/>
    <dgm:cxn modelId="{98BF4AAB-C825-4BCB-B149-7D3646C7CE88}" type="presParOf" srcId="{9BB4A022-7BE9-4D96-9DCD-74C58E8AC746}" destId="{0929419D-D828-4EB1-BE85-545FAC75147D}" srcOrd="1" destOrd="0" presId="urn:microsoft.com/office/officeart/2005/8/layout/list1"/>
    <dgm:cxn modelId="{8F3C1811-EBBE-4656-950C-D67200A0AFD9}" type="presParOf" srcId="{9BB4A022-7BE9-4D96-9DCD-74C58E8AC746}" destId="{4FBAF1EA-119C-4A7D-BED0-7FD2E02DC8D3}" srcOrd="2" destOrd="0" presId="urn:microsoft.com/office/officeart/2005/8/layout/list1"/>
    <dgm:cxn modelId="{183926A4-7786-4289-9610-DDF104CB3FCB}" type="presParOf" srcId="{9BB4A022-7BE9-4D96-9DCD-74C58E8AC746}" destId="{3F047EE5-19F6-4FFB-A6EB-10F6CB893674}" srcOrd="3" destOrd="0" presId="urn:microsoft.com/office/officeart/2005/8/layout/list1"/>
    <dgm:cxn modelId="{CFBE77BD-9F8F-4EE6-92E8-BBF9E58EE0B6}" type="presParOf" srcId="{9BB4A022-7BE9-4D96-9DCD-74C58E8AC746}" destId="{BD9540F2-B1BE-4B3B-A1A2-74B6265040F7}" srcOrd="4" destOrd="0" presId="urn:microsoft.com/office/officeart/2005/8/layout/list1"/>
    <dgm:cxn modelId="{FC6CA9B5-6604-4335-AFD5-4E8E3BC88202}" type="presParOf" srcId="{BD9540F2-B1BE-4B3B-A1A2-74B6265040F7}" destId="{2CFFDFEA-2A6E-4B3D-970A-80A69C636168}" srcOrd="0" destOrd="0" presId="urn:microsoft.com/office/officeart/2005/8/layout/list1"/>
    <dgm:cxn modelId="{101DC94A-5F35-4E2D-AB54-F1D039623FAF}" type="presParOf" srcId="{BD9540F2-B1BE-4B3B-A1A2-74B6265040F7}" destId="{BA975037-BE6C-4B32-8DBF-C84C73617461}" srcOrd="1" destOrd="0" presId="urn:microsoft.com/office/officeart/2005/8/layout/list1"/>
    <dgm:cxn modelId="{5C1CEE94-8664-4AE5-9066-57B67F01354D}" type="presParOf" srcId="{9BB4A022-7BE9-4D96-9DCD-74C58E8AC746}" destId="{7B63C310-DF5C-4B83-921A-43B067EC887A}" srcOrd="5" destOrd="0" presId="urn:microsoft.com/office/officeart/2005/8/layout/list1"/>
    <dgm:cxn modelId="{E13555C9-CD4F-4D1C-ACBF-21D05F51E34D}" type="presParOf" srcId="{9BB4A022-7BE9-4D96-9DCD-74C58E8AC746}" destId="{148A2150-C136-4328-AEF5-922C2C3CE943}" srcOrd="6" destOrd="0" presId="urn:microsoft.com/office/officeart/2005/8/layout/list1"/>
    <dgm:cxn modelId="{3AEF3C53-2C80-4CE6-AD06-7E6AEAF756F1}" type="presParOf" srcId="{9BB4A022-7BE9-4D96-9DCD-74C58E8AC746}" destId="{0FC8BB4E-8250-4F46-B57E-26C6F3C17C11}" srcOrd="7" destOrd="0" presId="urn:microsoft.com/office/officeart/2005/8/layout/list1"/>
    <dgm:cxn modelId="{7F40CD80-7019-4F40-AA54-F771BC9E3F6C}" type="presParOf" srcId="{9BB4A022-7BE9-4D96-9DCD-74C58E8AC746}" destId="{730D1FBB-F471-4D30-A724-DB54D34EC6E9}" srcOrd="8" destOrd="0" presId="urn:microsoft.com/office/officeart/2005/8/layout/list1"/>
    <dgm:cxn modelId="{F11A4DBD-3490-430C-97DF-039B632087C3}" type="presParOf" srcId="{730D1FBB-F471-4D30-A724-DB54D34EC6E9}" destId="{858BC837-E5A9-4C97-BB1B-4A6AFF7AC6A1}" srcOrd="0" destOrd="0" presId="urn:microsoft.com/office/officeart/2005/8/layout/list1"/>
    <dgm:cxn modelId="{587BFBDB-D2CB-4BA6-9803-988215ED2758}" type="presParOf" srcId="{730D1FBB-F471-4D30-A724-DB54D34EC6E9}" destId="{6B6A897F-5665-48D8-ACE1-FC4B644D487D}" srcOrd="1" destOrd="0" presId="urn:microsoft.com/office/officeart/2005/8/layout/list1"/>
    <dgm:cxn modelId="{FAB41D03-57BC-44BE-8641-0BC35CFB6287}" type="presParOf" srcId="{9BB4A022-7BE9-4D96-9DCD-74C58E8AC746}" destId="{7140714F-DE80-44C7-8816-CA26445D9ECC}" srcOrd="9" destOrd="0" presId="urn:microsoft.com/office/officeart/2005/8/layout/list1"/>
    <dgm:cxn modelId="{E61DF21F-F6BD-4AC7-8E43-8B87A75F85F7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420F83E1-C79E-4453-9758-7808F97E4625}" type="presOf" srcId="{9C869D94-BD20-4CF6-9CAA-58E706B950F6}" destId="{0AECE453-CE2A-473C-BD27-70D00DA5B95C}" srcOrd="0" destOrd="0" presId="urn:microsoft.com/office/officeart/2005/8/layout/chevron1"/>
    <dgm:cxn modelId="{B8C729D6-10B5-4E3E-AF3D-FE32887E3CD3}" type="presOf" srcId="{D14807FD-294C-4482-91EE-34C09B13669A}" destId="{BCE275B7-D1E9-4183-BABE-507E54E1C931}" srcOrd="0" destOrd="0" presId="urn:microsoft.com/office/officeart/2005/8/layout/chevron1"/>
    <dgm:cxn modelId="{ED4249FC-010E-43C9-8587-C6CFA0FF49AE}" type="presOf" srcId="{F351D095-D2C1-4F62-A18D-EFB4BA6E2AA9}" destId="{6BF66C9A-92D4-481D-A538-FD1A4E3DC0D5}" srcOrd="0" destOrd="0" presId="urn:microsoft.com/office/officeart/2005/8/layout/chevron1"/>
    <dgm:cxn modelId="{D802BD68-0EBE-4059-A87E-C0C5BA35EEA6}" type="presOf" srcId="{D0C25FB2-BCD9-40F2-AD7D-9958175F77A4}" destId="{3E9602A8-0A34-4630-A972-81E39BB9FA5D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97FBD30D-0AB9-4AC1-AB5E-834E7A92331E}" type="presOf" srcId="{EB61DA86-9B86-4759-822E-DA32F7AA073E}" destId="{135DB1F4-89C2-4733-9521-42FD5CECF10C}" srcOrd="0" destOrd="0" presId="urn:microsoft.com/office/officeart/2005/8/layout/chevron1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5B425240-65CD-413F-A20F-73AA22366CFF}" type="presParOf" srcId="{0AECE453-CE2A-473C-BD27-70D00DA5B95C}" destId="{135DB1F4-89C2-4733-9521-42FD5CECF10C}" srcOrd="0" destOrd="0" presId="urn:microsoft.com/office/officeart/2005/8/layout/chevron1"/>
    <dgm:cxn modelId="{12725817-7F74-4234-B8A9-330663E9415D}" type="presParOf" srcId="{0AECE453-CE2A-473C-BD27-70D00DA5B95C}" destId="{E1C76734-9ABE-473C-AD4C-C4BF49F91E97}" srcOrd="1" destOrd="0" presId="urn:microsoft.com/office/officeart/2005/8/layout/chevron1"/>
    <dgm:cxn modelId="{FCBD4E0D-3630-48B3-901C-3A518F92FAAA}" type="presParOf" srcId="{0AECE453-CE2A-473C-BD27-70D00DA5B95C}" destId="{6BF66C9A-92D4-481D-A538-FD1A4E3DC0D5}" srcOrd="2" destOrd="0" presId="urn:microsoft.com/office/officeart/2005/8/layout/chevron1"/>
    <dgm:cxn modelId="{9F2C0AF5-A5D2-44BF-A998-D49699F66069}" type="presParOf" srcId="{0AECE453-CE2A-473C-BD27-70D00DA5B95C}" destId="{691CB221-7DD5-49BE-AC21-301798066F30}" srcOrd="3" destOrd="0" presId="urn:microsoft.com/office/officeart/2005/8/layout/chevron1"/>
    <dgm:cxn modelId="{52DED0A2-917B-491D-9396-74EEC2F531B9}" type="presParOf" srcId="{0AECE453-CE2A-473C-BD27-70D00DA5B95C}" destId="{3E9602A8-0A34-4630-A972-81E39BB9FA5D}" srcOrd="4" destOrd="0" presId="urn:microsoft.com/office/officeart/2005/8/layout/chevron1"/>
    <dgm:cxn modelId="{80147B6A-5C6F-4886-8046-604F496EF1AA}" type="presParOf" srcId="{0AECE453-CE2A-473C-BD27-70D00DA5B95C}" destId="{D0B9A118-173B-40DB-89B8-9F21FF5432C9}" srcOrd="5" destOrd="0" presId="urn:microsoft.com/office/officeart/2005/8/layout/chevron1"/>
    <dgm:cxn modelId="{91832DF0-CD25-4C43-9C13-48BB2CD73AED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7EC3AC3-D1B6-4D4F-8224-D3A5D11089F7}" type="presOf" srcId="{D0C25FB2-BCD9-40F2-AD7D-9958175F77A4}" destId="{3E9602A8-0A34-4630-A972-81E39BB9FA5D}" srcOrd="0" destOrd="0" presId="urn:microsoft.com/office/officeart/2005/8/layout/chevron1"/>
    <dgm:cxn modelId="{76910EFF-DC2F-4335-B467-A94C1EB70A1F}" type="presOf" srcId="{EB61DA86-9B86-4759-822E-DA32F7AA073E}" destId="{135DB1F4-89C2-4733-9521-42FD5CECF10C}" srcOrd="0" destOrd="0" presId="urn:microsoft.com/office/officeart/2005/8/layout/chevron1"/>
    <dgm:cxn modelId="{DF5C944B-0507-4F46-B280-A2FF777EF2A5}" type="presOf" srcId="{9C869D94-BD20-4CF6-9CAA-58E706B950F6}" destId="{0AECE453-CE2A-473C-BD27-70D00DA5B95C}" srcOrd="0" destOrd="0" presId="urn:microsoft.com/office/officeart/2005/8/layout/chevron1"/>
    <dgm:cxn modelId="{025E9780-9884-46D8-9D61-3C520B11DE01}" type="presOf" srcId="{F351D095-D2C1-4F62-A18D-EFB4BA6E2AA9}" destId="{6BF66C9A-92D4-481D-A538-FD1A4E3DC0D5}" srcOrd="0" destOrd="0" presId="urn:microsoft.com/office/officeart/2005/8/layout/chevron1"/>
    <dgm:cxn modelId="{07EDF74C-5D77-47CD-9A8F-D2F15DBC7035}" type="presOf" srcId="{D14807FD-294C-4482-91EE-34C09B13669A}" destId="{BCE275B7-D1E9-4183-BABE-507E54E1C931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0AA1980C-6686-4997-ABB4-714A2280EED4}" type="presParOf" srcId="{0AECE453-CE2A-473C-BD27-70D00DA5B95C}" destId="{135DB1F4-89C2-4733-9521-42FD5CECF10C}" srcOrd="0" destOrd="0" presId="urn:microsoft.com/office/officeart/2005/8/layout/chevron1"/>
    <dgm:cxn modelId="{FE542211-5405-46B4-9C4E-9AC5FABBAA3C}" type="presParOf" srcId="{0AECE453-CE2A-473C-BD27-70D00DA5B95C}" destId="{E1C76734-9ABE-473C-AD4C-C4BF49F91E97}" srcOrd="1" destOrd="0" presId="urn:microsoft.com/office/officeart/2005/8/layout/chevron1"/>
    <dgm:cxn modelId="{16818868-9A03-4E53-8BA6-6CB95A81939E}" type="presParOf" srcId="{0AECE453-CE2A-473C-BD27-70D00DA5B95C}" destId="{6BF66C9A-92D4-481D-A538-FD1A4E3DC0D5}" srcOrd="2" destOrd="0" presId="urn:microsoft.com/office/officeart/2005/8/layout/chevron1"/>
    <dgm:cxn modelId="{97548ED4-7C4F-4F10-BF55-E93CA5DFCF5D}" type="presParOf" srcId="{0AECE453-CE2A-473C-BD27-70D00DA5B95C}" destId="{691CB221-7DD5-49BE-AC21-301798066F30}" srcOrd="3" destOrd="0" presId="urn:microsoft.com/office/officeart/2005/8/layout/chevron1"/>
    <dgm:cxn modelId="{53FC17C0-F4D4-42D2-8835-31082A6C0DDA}" type="presParOf" srcId="{0AECE453-CE2A-473C-BD27-70D00DA5B95C}" destId="{3E9602A8-0A34-4630-A972-81E39BB9FA5D}" srcOrd="4" destOrd="0" presId="urn:microsoft.com/office/officeart/2005/8/layout/chevron1"/>
    <dgm:cxn modelId="{EA4AA6D7-C8BA-41AC-A3FE-2CD6BD7F8CE3}" type="presParOf" srcId="{0AECE453-CE2A-473C-BD27-70D00DA5B95C}" destId="{D0B9A118-173B-40DB-89B8-9F21FF5432C9}" srcOrd="5" destOrd="0" presId="urn:microsoft.com/office/officeart/2005/8/layout/chevron1"/>
    <dgm:cxn modelId="{B50EA9A2-A364-4D66-834B-F8E463A40EB6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421493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421493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421493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421493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421493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421493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421493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421493"/>
      </dsp:txXfrm>
    </dsp:sp>
  </dsp:spTree>
</dsp:drawing>
</file>

<file path=ppt/diagrams/drawing10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845E31C6-6850-4FDD-BAB0-50E35C94C46E}">
      <dsp:nvSpPr>
        <dsp:cNvPr id="0" name=""/>
        <dsp:cNvSpPr/>
      </dsp:nvSpPr>
      <dsp:spPr>
        <a:xfrm>
          <a:off x="1951668" y="1136581"/>
          <a:ext cx="41750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17507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>
            <a:solidFill>
              <a:schemeClr val="bg1"/>
            </a:solidFill>
          </a:endParaRPr>
        </a:p>
      </dsp:txBody>
      <dsp:txXfrm>
        <a:off x="2149219" y="1180061"/>
        <a:ext cx="22405" cy="4481"/>
      </dsp:txXfrm>
    </dsp:sp>
    <dsp:sp modelId="{6031514D-EA9E-4EF4-85F7-3C6A74196969}">
      <dsp:nvSpPr>
        <dsp:cNvPr id="0" name=""/>
        <dsp:cNvSpPr/>
      </dsp:nvSpPr>
      <dsp:spPr>
        <a:xfrm>
          <a:off x="5175" y="597813"/>
          <a:ext cx="1948293" cy="1168975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700" kern="1200" dirty="0" smtClean="0">
              <a:solidFill>
                <a:schemeClr val="bg1"/>
              </a:solidFill>
            </a:rPr>
            <a:t>Get An Overview</a:t>
          </a:r>
          <a:endParaRPr lang="de-DE" sz="2700" kern="1200" dirty="0">
            <a:solidFill>
              <a:schemeClr val="bg1"/>
            </a:solidFill>
          </a:endParaRPr>
        </a:p>
      </dsp:txBody>
      <dsp:txXfrm>
        <a:off x="5175" y="597813"/>
        <a:ext cx="1948293" cy="1168975"/>
      </dsp:txXfrm>
    </dsp:sp>
    <dsp:sp modelId="{E308D8D5-E38F-4A9D-9D1A-9015B5567D72}">
      <dsp:nvSpPr>
        <dsp:cNvPr id="0" name=""/>
        <dsp:cNvSpPr/>
      </dsp:nvSpPr>
      <dsp:spPr>
        <a:xfrm>
          <a:off x="4348069" y="1136581"/>
          <a:ext cx="41750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17507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>
            <a:solidFill>
              <a:schemeClr val="bg1"/>
            </a:solidFill>
          </a:endParaRPr>
        </a:p>
      </dsp:txBody>
      <dsp:txXfrm>
        <a:off x="4545620" y="1180061"/>
        <a:ext cx="22405" cy="4481"/>
      </dsp:txXfrm>
    </dsp:sp>
    <dsp:sp modelId="{13459AEB-C7B5-4B38-80A7-C9867B3EB642}">
      <dsp:nvSpPr>
        <dsp:cNvPr id="0" name=""/>
        <dsp:cNvSpPr/>
      </dsp:nvSpPr>
      <dsp:spPr>
        <a:xfrm>
          <a:off x="2401576" y="597813"/>
          <a:ext cx="1948293" cy="1168975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700" kern="1200" dirty="0" smtClean="0">
              <a:solidFill>
                <a:schemeClr val="bg1"/>
              </a:solidFill>
            </a:rPr>
            <a:t>DevStack As Testplatform</a:t>
          </a:r>
          <a:endParaRPr lang="de-DE" sz="2700" kern="1200" dirty="0">
            <a:solidFill>
              <a:schemeClr val="bg1"/>
            </a:solidFill>
          </a:endParaRPr>
        </a:p>
      </dsp:txBody>
      <dsp:txXfrm>
        <a:off x="2401576" y="597813"/>
        <a:ext cx="1948293" cy="1168975"/>
      </dsp:txXfrm>
    </dsp:sp>
    <dsp:sp modelId="{BC2709E5-B21A-451B-9FA3-4F70E2E5BFB1}">
      <dsp:nvSpPr>
        <dsp:cNvPr id="0" name=""/>
        <dsp:cNvSpPr/>
      </dsp:nvSpPr>
      <dsp:spPr>
        <a:xfrm>
          <a:off x="979322" y="1764989"/>
          <a:ext cx="4792801" cy="417507"/>
        </a:xfrm>
        <a:custGeom>
          <a:avLst/>
          <a:gdLst/>
          <a:ahLst/>
          <a:cxnLst/>
          <a:rect l="0" t="0" r="0" b="0"/>
          <a:pathLst>
            <a:path>
              <a:moveTo>
                <a:pt x="4792801" y="0"/>
              </a:moveTo>
              <a:lnTo>
                <a:pt x="4792801" y="225853"/>
              </a:lnTo>
              <a:lnTo>
                <a:pt x="0" y="225853"/>
              </a:lnTo>
              <a:lnTo>
                <a:pt x="0" y="417507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>
            <a:solidFill>
              <a:schemeClr val="bg1"/>
            </a:solidFill>
          </a:endParaRPr>
        </a:p>
      </dsp:txBody>
      <dsp:txXfrm>
        <a:off x="3255380" y="1971502"/>
        <a:ext cx="240685" cy="4481"/>
      </dsp:txXfrm>
    </dsp:sp>
    <dsp:sp modelId="{8EDD94B1-7527-400A-BF72-5A0A9D075471}">
      <dsp:nvSpPr>
        <dsp:cNvPr id="0" name=""/>
        <dsp:cNvSpPr/>
      </dsp:nvSpPr>
      <dsp:spPr>
        <a:xfrm>
          <a:off x="4797977" y="597813"/>
          <a:ext cx="1948293" cy="1168975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700" kern="1200" dirty="0" smtClean="0">
              <a:solidFill>
                <a:schemeClr val="bg1"/>
              </a:solidFill>
            </a:rPr>
            <a:t>Setting Up DevStack</a:t>
          </a:r>
          <a:endParaRPr lang="de-DE" sz="2700" kern="1200" dirty="0">
            <a:solidFill>
              <a:schemeClr val="bg1"/>
            </a:solidFill>
          </a:endParaRPr>
        </a:p>
      </dsp:txBody>
      <dsp:txXfrm>
        <a:off x="4797977" y="597813"/>
        <a:ext cx="1948293" cy="1168975"/>
      </dsp:txXfrm>
    </dsp:sp>
    <dsp:sp modelId="{7B9E48F2-E3EE-46B1-81D6-C925E0C39611}">
      <dsp:nvSpPr>
        <dsp:cNvPr id="0" name=""/>
        <dsp:cNvSpPr/>
      </dsp:nvSpPr>
      <dsp:spPr>
        <a:xfrm>
          <a:off x="1951668" y="2753665"/>
          <a:ext cx="41750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17507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>
            <a:solidFill>
              <a:schemeClr val="bg1"/>
            </a:solidFill>
          </a:endParaRPr>
        </a:p>
      </dsp:txBody>
      <dsp:txXfrm>
        <a:off x="2149219" y="2797144"/>
        <a:ext cx="22405" cy="4481"/>
      </dsp:txXfrm>
    </dsp:sp>
    <dsp:sp modelId="{CE03B5CE-F3B0-4A17-9638-C582A1BB8AC4}">
      <dsp:nvSpPr>
        <dsp:cNvPr id="0" name=""/>
        <dsp:cNvSpPr/>
      </dsp:nvSpPr>
      <dsp:spPr>
        <a:xfrm>
          <a:off x="5175" y="2214897"/>
          <a:ext cx="1948293" cy="1168975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700" kern="1200" dirty="0" smtClean="0">
              <a:solidFill>
                <a:schemeClr val="bg1"/>
              </a:solidFill>
            </a:rPr>
            <a:t>Create Tenant</a:t>
          </a:r>
        </a:p>
      </dsp:txBody>
      <dsp:txXfrm>
        <a:off x="5175" y="2214897"/>
        <a:ext cx="1948293" cy="1168975"/>
      </dsp:txXfrm>
    </dsp:sp>
    <dsp:sp modelId="{BDCB6C76-0C40-42F5-B0EF-FB12DF684CD1}">
      <dsp:nvSpPr>
        <dsp:cNvPr id="0" name=""/>
        <dsp:cNvSpPr/>
      </dsp:nvSpPr>
      <dsp:spPr>
        <a:xfrm>
          <a:off x="4348069" y="2753665"/>
          <a:ext cx="41750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17507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>
            <a:solidFill>
              <a:schemeClr val="bg1"/>
            </a:solidFill>
          </a:endParaRPr>
        </a:p>
      </dsp:txBody>
      <dsp:txXfrm>
        <a:off x="4545620" y="2797144"/>
        <a:ext cx="22405" cy="4481"/>
      </dsp:txXfrm>
    </dsp:sp>
    <dsp:sp modelId="{E16655F4-9D8B-458E-BE79-35E88E622DDB}">
      <dsp:nvSpPr>
        <dsp:cNvPr id="0" name=""/>
        <dsp:cNvSpPr/>
      </dsp:nvSpPr>
      <dsp:spPr>
        <a:xfrm>
          <a:off x="2401576" y="2214897"/>
          <a:ext cx="1948293" cy="1168975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700" kern="1200" dirty="0" smtClean="0">
              <a:solidFill>
                <a:schemeClr val="bg1"/>
              </a:solidFill>
            </a:rPr>
            <a:t>Automatic Rollout</a:t>
          </a:r>
          <a:endParaRPr lang="de-DE" sz="2700" kern="1200" dirty="0">
            <a:solidFill>
              <a:schemeClr val="bg1"/>
            </a:solidFill>
          </a:endParaRPr>
        </a:p>
      </dsp:txBody>
      <dsp:txXfrm>
        <a:off x="2401576" y="2214897"/>
        <a:ext cx="1948293" cy="1168975"/>
      </dsp:txXfrm>
    </dsp:sp>
    <dsp:sp modelId="{E896A7BE-2FA2-4FC1-B447-31BB37B68D5E}">
      <dsp:nvSpPr>
        <dsp:cNvPr id="0" name=""/>
        <dsp:cNvSpPr/>
      </dsp:nvSpPr>
      <dsp:spPr>
        <a:xfrm>
          <a:off x="4797977" y="2214897"/>
          <a:ext cx="1948293" cy="1168975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700" kern="1200" dirty="0" smtClean="0">
              <a:solidFill>
                <a:schemeClr val="bg1"/>
              </a:solidFill>
            </a:rPr>
            <a:t>Install Wordpress</a:t>
          </a:r>
          <a:endParaRPr lang="de-DE" sz="2700" kern="1200" dirty="0">
            <a:solidFill>
              <a:schemeClr val="bg1"/>
            </a:solidFill>
          </a:endParaRPr>
        </a:p>
      </dsp:txBody>
      <dsp:txXfrm>
        <a:off x="4797977" y="2214897"/>
        <a:ext cx="1948293" cy="1168975"/>
      </dsp:txXfrm>
    </dsp:sp>
  </dsp:spTree>
</dsp:drawing>
</file>

<file path=ppt/diagrams/drawing1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421493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421493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421493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421493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421493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421493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421493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421493"/>
      </dsp:txXfrm>
    </dsp:sp>
  </dsp:spTree>
</dsp:drawing>
</file>

<file path=ppt/diagrams/drawing1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421493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421493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421493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421493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421493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421493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421493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421493"/>
      </dsp:txXfrm>
    </dsp:sp>
  </dsp:spTree>
</dsp:drawing>
</file>

<file path=ppt/diagrams/drawing1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FC4C6030-747E-48FD-A592-CF6DDA7519A4}">
      <dsp:nvSpPr>
        <dsp:cNvPr id="0" name=""/>
        <dsp:cNvSpPr/>
      </dsp:nvSpPr>
      <dsp:spPr>
        <a:xfrm>
          <a:off x="1324" y="2366633"/>
          <a:ext cx="1488903" cy="1228033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 DevOps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 general information (tasks/goals)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324" y="2366633"/>
        <a:ext cx="1488903" cy="964883"/>
      </dsp:txXfrm>
    </dsp:sp>
    <dsp:sp modelId="{5439EF25-BEDD-4B5A-B567-E1403F8FEB8E}">
      <dsp:nvSpPr>
        <dsp:cNvPr id="0" name=""/>
        <dsp:cNvSpPr/>
      </dsp:nvSpPr>
      <dsp:spPr>
        <a:xfrm>
          <a:off x="879696" y="2808691"/>
          <a:ext cx="1421012" cy="1421012"/>
        </a:xfrm>
        <a:prstGeom prst="leftCircularArrow">
          <a:avLst>
            <a:gd name="adj1" fmla="val 1610"/>
            <a:gd name="adj2" fmla="val 191217"/>
            <a:gd name="adj3" fmla="val 1966727"/>
            <a:gd name="adj4" fmla="val 9024489"/>
            <a:gd name="adj5" fmla="val 1879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D272A9-E92B-4719-96E4-A334C871DDEB}">
      <dsp:nvSpPr>
        <dsp:cNvPr id="0" name=""/>
        <dsp:cNvSpPr/>
      </dsp:nvSpPr>
      <dsp:spPr>
        <a:xfrm>
          <a:off x="332191" y="3331517"/>
          <a:ext cx="1323469" cy="526300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kern="1200" dirty="0" smtClean="0"/>
            <a:t>Introduction</a:t>
          </a:r>
          <a:endParaRPr lang="de-DE" sz="1600" kern="1200" dirty="0"/>
        </a:p>
      </dsp:txBody>
      <dsp:txXfrm>
        <a:off x="332191" y="3331517"/>
        <a:ext cx="1323469" cy="526300"/>
      </dsp:txXfrm>
    </dsp:sp>
    <dsp:sp modelId="{7B116376-1966-411C-8846-0B561668FA8A}">
      <dsp:nvSpPr>
        <dsp:cNvPr id="0" name=""/>
        <dsp:cNvSpPr/>
      </dsp:nvSpPr>
      <dsp:spPr>
        <a:xfrm>
          <a:off x="1764623" y="2366633"/>
          <a:ext cx="1488903" cy="1228033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 what 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is it?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 which 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features?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 how 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to start?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764623" y="2629783"/>
        <a:ext cx="1488903" cy="964883"/>
      </dsp:txXfrm>
    </dsp:sp>
    <dsp:sp modelId="{6861BCAD-DE42-4BC1-ACF4-14F23BA682BF}">
      <dsp:nvSpPr>
        <dsp:cNvPr id="0" name=""/>
        <dsp:cNvSpPr/>
      </dsp:nvSpPr>
      <dsp:spPr>
        <a:xfrm>
          <a:off x="2630587" y="1683446"/>
          <a:ext cx="1611261" cy="1611261"/>
        </a:xfrm>
        <a:prstGeom prst="circularArrow">
          <a:avLst>
            <a:gd name="adj1" fmla="val 1420"/>
            <a:gd name="adj2" fmla="val 167917"/>
            <a:gd name="adj3" fmla="val 19656572"/>
            <a:gd name="adj4" fmla="val 12575511"/>
            <a:gd name="adj5" fmla="val 1657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A97D153-61A1-4F22-9B68-9BB314807883}">
      <dsp:nvSpPr>
        <dsp:cNvPr id="0" name=""/>
        <dsp:cNvSpPr/>
      </dsp:nvSpPr>
      <dsp:spPr>
        <a:xfrm>
          <a:off x="2095490" y="2103483"/>
          <a:ext cx="1323469" cy="526300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kern="1200" dirty="0" smtClean="0"/>
            <a:t>OpenStack</a:t>
          </a:r>
          <a:endParaRPr lang="de-DE" sz="1600" kern="1200" dirty="0"/>
        </a:p>
      </dsp:txBody>
      <dsp:txXfrm>
        <a:off x="2095490" y="2103483"/>
        <a:ext cx="1323469" cy="526300"/>
      </dsp:txXfrm>
    </dsp:sp>
    <dsp:sp modelId="{21AC5FF7-1AAA-4C2C-962E-B3C6EE613243}">
      <dsp:nvSpPr>
        <dsp:cNvPr id="0" name=""/>
        <dsp:cNvSpPr/>
      </dsp:nvSpPr>
      <dsp:spPr>
        <a:xfrm>
          <a:off x="3527921" y="2366633"/>
          <a:ext cx="1488903" cy="1228033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050" kern="1200" dirty="0" smtClean="0">
              <a:latin typeface="Arial" pitchFamily="34" charset="0"/>
              <a:cs typeface="Arial" pitchFamily="34" charset="0"/>
            </a:rPr>
            <a:t> 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new 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environment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 what 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we provide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 partner 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and 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user integration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de-DE" sz="1100" kern="1200" dirty="0"/>
        </a:p>
      </dsp:txBody>
      <dsp:txXfrm>
        <a:off x="3527921" y="2366633"/>
        <a:ext cx="1488903" cy="964883"/>
      </dsp:txXfrm>
    </dsp:sp>
    <dsp:sp modelId="{E99699DA-C282-434C-8D58-B6E86BFB4860}">
      <dsp:nvSpPr>
        <dsp:cNvPr id="0" name=""/>
        <dsp:cNvSpPr/>
      </dsp:nvSpPr>
      <dsp:spPr>
        <a:xfrm>
          <a:off x="3858788" y="3331517"/>
          <a:ext cx="1323469" cy="526300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kern="1200" dirty="0" smtClean="0"/>
            <a:t>TelekomCLOUD</a:t>
          </a:r>
          <a:endParaRPr lang="de-DE" sz="1600" kern="1200" dirty="0"/>
        </a:p>
      </dsp:txBody>
      <dsp:txXfrm>
        <a:off x="3858788" y="3331517"/>
        <a:ext cx="1323469" cy="526300"/>
      </dsp:txXfrm>
    </dsp:sp>
  </dsp:spTree>
</dsp:drawing>
</file>

<file path=ppt/diagrams/drawing1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421493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421493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421493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421493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421493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421493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421493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421493"/>
      </dsp:txXfrm>
    </dsp:sp>
  </dsp:spTree>
</dsp:drawing>
</file>

<file path=ppt/diagrams/drawing1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421493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421493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421493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421493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421493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421493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421493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421493"/>
      </dsp:txXfrm>
    </dsp:sp>
  </dsp:spTree>
</dsp:drawing>
</file>

<file path=ppt/diagrams/drawing1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421493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421493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421493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421493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421493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421493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421493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421493"/>
      </dsp:txXfrm>
    </dsp:sp>
  </dsp:spTree>
</dsp:drawing>
</file>

<file path=ppt/diagrams/drawing1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421493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421493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421493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421493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421493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421493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421493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421493"/>
      </dsp:txXfrm>
    </dsp:sp>
  </dsp:spTree>
</dsp:drawing>
</file>

<file path=ppt/diagrams/drawing1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29D7791F-105A-4F01-86CE-28F0799E1AAF}">
      <dsp:nvSpPr>
        <dsp:cNvPr id="0" name=""/>
        <dsp:cNvSpPr/>
      </dsp:nvSpPr>
      <dsp:spPr>
        <a:xfrm>
          <a:off x="900949" y="1959"/>
          <a:ext cx="7342100" cy="4377332"/>
        </a:xfrm>
        <a:prstGeom prst="rect">
          <a:avLst/>
        </a:prstGeom>
        <a:solidFill>
          <a:schemeClr val="tx1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6500" b="1" kern="1200" dirty="0" smtClean="0">
            <a:solidFill>
              <a:schemeClr val="bg1"/>
            </a:solidFill>
          </a:endParaRPr>
        </a:p>
      </dsp:txBody>
      <dsp:txXfrm>
        <a:off x="900949" y="1959"/>
        <a:ext cx="7342100" cy="4377332"/>
      </dsp:txXfrm>
    </dsp:sp>
  </dsp:spTree>
</dsp:drawing>
</file>

<file path=ppt/diagrams/drawing1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421493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421493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421493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421493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421493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421493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421493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421493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382901"/>
          <a:ext cx="7184070" cy="887512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479044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Frank Klöke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382901"/>
        <a:ext cx="7184070" cy="887512"/>
      </dsp:txXfrm>
    </dsp:sp>
    <dsp:sp modelId="{36EDF564-50E4-47F9-8DB5-BE5E735EFF0D}">
      <dsp:nvSpPr>
        <dsp:cNvPr id="0" name=""/>
        <dsp:cNvSpPr/>
      </dsp:nvSpPr>
      <dsp:spPr>
        <a:xfrm>
          <a:off x="359203" y="43420"/>
          <a:ext cx="5028849" cy="67896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43420"/>
        <a:ext cx="5028849" cy="678960"/>
      </dsp:txXfrm>
    </dsp:sp>
    <dsp:sp modelId="{148A2150-C136-4328-AEF5-922C2C3CE943}">
      <dsp:nvSpPr>
        <dsp:cNvPr id="0" name=""/>
        <dsp:cNvSpPr/>
      </dsp:nvSpPr>
      <dsp:spPr>
        <a:xfrm>
          <a:off x="0" y="1734093"/>
          <a:ext cx="7184070" cy="887512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479044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27 years of experience in Operation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10 years Examiner on Chamber of Commerce and Industry 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1734093"/>
        <a:ext cx="7184070" cy="887512"/>
      </dsp:txXfrm>
    </dsp:sp>
    <dsp:sp modelId="{BA975037-BE6C-4B32-8DBF-C84C73617461}">
      <dsp:nvSpPr>
        <dsp:cNvPr id="0" name=""/>
        <dsp:cNvSpPr/>
      </dsp:nvSpPr>
      <dsp:spPr>
        <a:xfrm>
          <a:off x="359203" y="1394613"/>
          <a:ext cx="5028849" cy="67896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394613"/>
        <a:ext cx="5028849" cy="678960"/>
      </dsp:txXfrm>
    </dsp:sp>
    <dsp:sp modelId="{1D380A2A-1436-4BC6-9682-4A6F1756B36A}">
      <dsp:nvSpPr>
        <dsp:cNvPr id="0" name=""/>
        <dsp:cNvSpPr/>
      </dsp:nvSpPr>
      <dsp:spPr>
        <a:xfrm>
          <a:off x="0" y="3085286"/>
          <a:ext cx="7184070" cy="1195424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479044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 		Applicationmanagement for Cloud hosting platform						personal point of contact for Apprent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		Deutsche Telekom AG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3085286"/>
        <a:ext cx="7184070" cy="1195424"/>
      </dsp:txXfrm>
    </dsp:sp>
    <dsp:sp modelId="{6B6A897F-5665-48D8-ACE1-FC4B644D487D}">
      <dsp:nvSpPr>
        <dsp:cNvPr id="0" name=""/>
        <dsp:cNvSpPr/>
      </dsp:nvSpPr>
      <dsp:spPr>
        <a:xfrm>
          <a:off x="359203" y="2745806"/>
          <a:ext cx="5028849" cy="67896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2745806"/>
        <a:ext cx="5028849" cy="678960"/>
      </dsp:txXfrm>
    </dsp:sp>
  </dsp:spTree>
</dsp:drawing>
</file>

<file path=ppt/diagrams/drawing20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941B5F1E-BE5B-4512-8FFD-930037772452}">
      <dsp:nvSpPr>
        <dsp:cNvPr id="0" name=""/>
        <dsp:cNvSpPr/>
      </dsp:nvSpPr>
      <dsp:spPr>
        <a:xfrm>
          <a:off x="0" y="216375"/>
          <a:ext cx="8253454" cy="421307"/>
        </a:xfrm>
        <a:prstGeom prst="roundRect">
          <a:avLst/>
        </a:prstGeom>
        <a:solidFill>
          <a:srgbClr val="E20074"/>
        </a:solidFill>
        <a:ln w="38100" cap="flat" cmpd="sng" algn="ctr">
          <a:solidFill>
            <a:srgbClr val="E20074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formation</a:t>
          </a:r>
          <a:endParaRPr lang="de-DE" sz="20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0" y="216375"/>
        <a:ext cx="8253454" cy="421307"/>
      </dsp:txXfrm>
    </dsp:sp>
    <dsp:sp modelId="{135D980B-F227-4000-9869-2D5A8FA31B13}">
      <dsp:nvSpPr>
        <dsp:cNvPr id="0" name=""/>
        <dsp:cNvSpPr/>
      </dsp:nvSpPr>
      <dsp:spPr>
        <a:xfrm>
          <a:off x="0" y="637683"/>
          <a:ext cx="8253454" cy="14338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2047" tIns="12700" rIns="71120" bIns="1270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de-DE" sz="10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0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"/>
            </a:rPr>
            <a:t>https://www.openstack.org/</a:t>
          </a:r>
          <a:r>
            <a:rPr lang="de-DE" sz="1000" kern="1200" dirty="0" smtClean="0">
              <a:latin typeface="Arial" pitchFamily="34" charset="0"/>
              <a:cs typeface="Arial" pitchFamily="34" charset="0"/>
            </a:rPr>
            <a:t> </a:t>
          </a:r>
          <a:endParaRPr lang="de-DE" sz="10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0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2"/>
            </a:rPr>
            <a:t>https://dzone.com/refcardz/getting-started-openstack-most</a:t>
          </a:r>
          <a:r>
            <a:rPr lang="de-DE" sz="1000" kern="1200" dirty="0" smtClean="0">
              <a:latin typeface="Arial" pitchFamily="34" charset="0"/>
              <a:cs typeface="Arial" pitchFamily="34" charset="0"/>
            </a:rPr>
            <a:t> </a:t>
          </a:r>
          <a:endParaRPr lang="de-DE" sz="10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000" kern="1200" dirty="0" smtClean="0">
              <a:latin typeface="Arial" pitchFamily="34" charset="0"/>
              <a:cs typeface="Arial" pitchFamily="34" charset="0"/>
            </a:rPr>
            <a:t> </a:t>
          </a:r>
          <a:r>
            <a:rPr lang="de-DE" sz="10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3"/>
            </a:rPr>
            <a:t>http://cloud-computing-blog.eu/was-ist-jetzt-eigentlich-cloud-computing/</a:t>
          </a:r>
          <a:r>
            <a:rPr lang="de-DE" sz="1000" kern="1200" dirty="0" smtClean="0">
              <a:latin typeface="Arial" pitchFamily="34" charset="0"/>
              <a:cs typeface="Arial" pitchFamily="34" charset="0"/>
            </a:rPr>
            <a:t> </a:t>
          </a:r>
          <a:endParaRPr lang="de-DE" sz="10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000" b="1" u="sng" kern="1200" dirty="0" smtClean="0">
              <a:latin typeface="Arial" pitchFamily="34" charset="0"/>
              <a:cs typeface="Arial" pitchFamily="34" charset="0"/>
            </a:rPr>
            <a:t>Other Sources</a:t>
          </a:r>
          <a:r>
            <a:rPr lang="de-DE" sz="1000" b="1" u="none" kern="1200" dirty="0" smtClean="0">
              <a:latin typeface="Arial" pitchFamily="34" charset="0"/>
              <a:cs typeface="Arial" pitchFamily="34" charset="0"/>
            </a:rPr>
            <a:t> : </a:t>
          </a:r>
          <a:r>
            <a:rPr lang="de-DE" sz="1000" kern="1200" dirty="0" smtClean="0">
              <a:latin typeface="Arial" pitchFamily="34" charset="0"/>
              <a:cs typeface="Arial" pitchFamily="34" charset="0"/>
            </a:rPr>
            <a:t>AiolosSystemDescription.pdf; Telekom Small Business Cloud_Refcard for ISVs.pdf</a:t>
          </a:r>
          <a:endParaRPr lang="de-DE" sz="1000" kern="1200" dirty="0">
            <a:latin typeface="Arial" pitchFamily="34" charset="0"/>
            <a:cs typeface="Arial" pitchFamily="34" charset="0"/>
          </a:endParaRPr>
        </a:p>
      </dsp:txBody>
      <dsp:txXfrm>
        <a:off x="0" y="637683"/>
        <a:ext cx="8253454" cy="1433893"/>
      </dsp:txXfrm>
    </dsp:sp>
    <dsp:sp modelId="{003283A4-BBAE-49F6-A32A-13D1CE661B99}">
      <dsp:nvSpPr>
        <dsp:cNvPr id="0" name=""/>
        <dsp:cNvSpPr/>
      </dsp:nvSpPr>
      <dsp:spPr>
        <a:xfrm>
          <a:off x="0" y="2071577"/>
          <a:ext cx="8253454" cy="514465"/>
        </a:xfrm>
        <a:prstGeom prst="roundRect">
          <a:avLst/>
        </a:prstGeom>
        <a:solidFill>
          <a:srgbClr val="E20074"/>
        </a:solidFill>
        <a:ln w="38100" cap="flat" cmpd="sng" algn="ctr">
          <a:solidFill>
            <a:srgbClr val="E20074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ictures</a:t>
          </a:r>
          <a:endParaRPr lang="de-DE" sz="28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0" y="2071577"/>
        <a:ext cx="8253454" cy="514465"/>
      </dsp:txXfrm>
    </dsp:sp>
    <dsp:sp modelId="{BF5A6700-E73A-4C76-AB30-5E258848545C}">
      <dsp:nvSpPr>
        <dsp:cNvPr id="0" name=""/>
        <dsp:cNvSpPr/>
      </dsp:nvSpPr>
      <dsp:spPr>
        <a:xfrm>
          <a:off x="0" y="2586043"/>
          <a:ext cx="8253454" cy="17491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2047" tIns="11430" rIns="64008" bIns="11430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9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4"/>
            </a:rPr>
            <a:t>http://www.ofekcloud.com/media/images/1e7b5ca3-8b2e-4e2e-9898-5df978f0218aimage14.jpeg</a:t>
          </a:r>
          <a:r>
            <a:rPr lang="de-DE" sz="900" kern="1200" dirty="0" smtClean="0">
              <a:latin typeface="Arial" pitchFamily="34" charset="0"/>
              <a:cs typeface="Arial" pitchFamily="34" charset="0"/>
            </a:rPr>
            <a:t> ( Slide #10 CC)</a:t>
          </a: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9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5"/>
            </a:rPr>
            <a:t>http://www.all-stars.de/blog/wp-content/uploads/2014/04/planung.jpg</a:t>
          </a:r>
          <a:r>
            <a:rPr lang="de-DE" sz="900" kern="1200" dirty="0" smtClean="0">
              <a:latin typeface="Arial" pitchFamily="34" charset="0"/>
              <a:cs typeface="Arial" pitchFamily="34" charset="0"/>
            </a:rPr>
            <a:t> (Slide #10 Planning)</a:t>
          </a: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9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6"/>
            </a:rPr>
            <a:t>http://www.maclife.de/ratgeber/microsoft-office-ios-jetzt-icloud-unterstuetzung-10062588.html</a:t>
          </a:r>
          <a:r>
            <a:rPr lang="de-DE" sz="900" kern="1200" dirty="0" smtClean="0">
              <a:latin typeface="Arial" pitchFamily="34" charset="0"/>
              <a:cs typeface="Arial" pitchFamily="34" charset="0"/>
            </a:rPr>
            <a:t> (Slide #10 Office Tools)</a:t>
          </a: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9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7"/>
            </a:rPr>
            <a:t>http://yourdost.com/blog/2016/02/how-to-become-more-creative.html</a:t>
          </a:r>
          <a:r>
            <a:rPr lang="de-DE" sz="900" kern="1200" dirty="0" smtClean="0">
              <a:latin typeface="Arial" pitchFamily="34" charset="0"/>
              <a:cs typeface="Arial" pitchFamily="34" charset="0"/>
            </a:rPr>
            <a:t> (Slide #10 Creative)</a:t>
          </a: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9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8"/>
            </a:rPr>
            <a:t>http://www.embritas.lt/project/duomenu-apdorojimo-centras/?lang=de</a:t>
          </a:r>
          <a:r>
            <a:rPr lang="de-DE" sz="900" kern="1200" dirty="0" smtClean="0">
              <a:latin typeface="Arial" pitchFamily="34" charset="0"/>
              <a:cs typeface="Arial" pitchFamily="34" charset="0"/>
            </a:rPr>
            <a:t> (Slide #14 Datacenter Biere)</a:t>
          </a: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9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9"/>
            </a:rPr>
            <a:t>https://www.openstack.org/brand/openstack-logo/logo-download/</a:t>
          </a:r>
          <a:r>
            <a:rPr lang="de-DE" sz="900" kern="1200" dirty="0" smtClean="0">
              <a:latin typeface="Arial" pitchFamily="34" charset="0"/>
              <a:cs typeface="Arial" pitchFamily="34" charset="0"/>
            </a:rPr>
            <a:t> (Slide #10,#1 OpenStack Logo)</a:t>
          </a: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9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0"/>
            </a:rPr>
            <a:t>https://gitlab.com/uploads/project/avatar/250833/runner_logo.png</a:t>
          </a:r>
          <a:r>
            <a:rPr lang="de-DE" sz="900" kern="1200" dirty="0" smtClean="0">
              <a:latin typeface="Arial" pitchFamily="34" charset="0"/>
              <a:cs typeface="Arial" pitchFamily="34" charset="0"/>
            </a:rPr>
            <a:t> (Slide #16 Git Runner Logo)</a:t>
          </a: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9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1"/>
            </a:rPr>
            <a:t>https://d30y9cdsu7xlg0.cloudfront.net/png/27703-200.png</a:t>
          </a:r>
          <a:r>
            <a:rPr lang="de-DE" sz="900" kern="1200" dirty="0" smtClean="0">
              <a:latin typeface="Arial" pitchFamily="34" charset="0"/>
              <a:cs typeface="Arial" pitchFamily="34" charset="0"/>
            </a:rPr>
            <a:t> (Slide #16 Developer)</a:t>
          </a: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9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2"/>
            </a:rPr>
            <a:t>https://gitlab.com/uploads/project/avatar/13083/gitlab-logo-square.png</a:t>
          </a:r>
          <a:r>
            <a:rPr lang="de-DE" sz="900" kern="1200" dirty="0" smtClean="0">
              <a:latin typeface="Arial" pitchFamily="34" charset="0"/>
              <a:cs typeface="Arial" pitchFamily="34" charset="0"/>
            </a:rPr>
            <a:t> (Slide #16 GitLab Logo)</a:t>
          </a: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9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3"/>
            </a:rPr>
            <a:t>https://www.brand-design.telekom.com/icon-library/</a:t>
          </a:r>
          <a:r>
            <a:rPr lang="de-DE" sz="900" kern="1200" dirty="0" smtClean="0">
              <a:latin typeface="Arial" pitchFamily="34" charset="0"/>
              <a:cs typeface="Arial" pitchFamily="34" charset="0"/>
            </a:rPr>
            <a:t> (Slide #16 cancel, confirm, cloudupload)</a:t>
          </a: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9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4"/>
            </a:rPr>
            <a:t>https://de.pinterest.com/pin/556053885218068326/</a:t>
          </a:r>
          <a:r>
            <a:rPr lang="de-DE" sz="900" kern="1200" dirty="0" smtClean="0">
              <a:latin typeface="Arial" pitchFamily="34" charset="0"/>
              <a:cs typeface="Arial" pitchFamily="34" charset="0"/>
            </a:rPr>
            <a:t>  (Slide #18 Background)</a:t>
          </a:r>
          <a:endParaRPr lang="de-DE" sz="900" kern="1200" dirty="0">
            <a:latin typeface="Arial" pitchFamily="34" charset="0"/>
            <a:cs typeface="Arial" pitchFamily="34" charset="0"/>
          </a:endParaRPr>
        </a:p>
      </dsp:txBody>
      <dsp:txXfrm>
        <a:off x="0" y="2586043"/>
        <a:ext cx="8253454" cy="1749150"/>
      </dsp:txXfrm>
    </dsp:sp>
  </dsp:spTree>
</dsp:drawing>
</file>

<file path=ppt/diagrams/drawing2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421493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421493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421493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421493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421493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rgbClr val="E20074"/>
              </a:solidFill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solidFill>
              <a:srgbClr val="E20074"/>
            </a:solidFill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421493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421493"/>
        </a:xfrm>
        <a:prstGeom prst="chevron">
          <a:avLst/>
        </a:prstGeom>
        <a:solidFill>
          <a:srgbClr val="E20074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421493"/>
      </dsp:txXfrm>
    </dsp:sp>
  </dsp:spTree>
</dsp:drawing>
</file>

<file path=ppt/diagrams/drawing2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7EBEFCAF-EAB3-44B0-8F9A-87E8C01D6452}">
      <dsp:nvSpPr>
        <dsp:cNvPr id="0" name=""/>
        <dsp:cNvSpPr/>
      </dsp:nvSpPr>
      <dsp:spPr>
        <a:xfrm>
          <a:off x="0" y="0"/>
          <a:ext cx="8003460" cy="2166292"/>
        </a:xfrm>
        <a:prstGeom prst="roundRect">
          <a:avLst>
            <a:gd name="adj" fmla="val 10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3C34CD1-54D0-4CA7-BB0E-16F028C8DA3A}">
      <dsp:nvSpPr>
        <dsp:cNvPr id="0" name=""/>
        <dsp:cNvSpPr/>
      </dsp:nvSpPr>
      <dsp:spPr>
        <a:xfrm>
          <a:off x="542292" y="288838"/>
          <a:ext cx="1148599" cy="1588614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198BAB-B9C6-4C60-A044-A2B387319D04}">
      <dsp:nvSpPr>
        <dsp:cNvPr id="0" name=""/>
        <dsp:cNvSpPr/>
      </dsp:nvSpPr>
      <dsp:spPr>
        <a:xfrm rot="10800000">
          <a:off x="242307" y="2166292"/>
          <a:ext cx="1748568" cy="2647690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Janika </a:t>
          </a:r>
          <a:r>
            <a:rPr lang="de-DE" sz="1200" b="1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Schäfer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i="0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u="sng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b="0" i="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2"/>
            </a:rPr>
            <a:t>janika-schaefer@telekom.de</a:t>
          </a:r>
          <a:endParaRPr lang="de-DE" sz="900" b="0" i="0" kern="1200" dirty="0" smtClean="0"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900" b="0" i="0" kern="1200" dirty="0" smtClean="0"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. 50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kern="1200" dirty="0" smtClean="0"/>
            <a:t>	</a:t>
          </a:r>
          <a:endParaRPr lang="de-DE" sz="1100" kern="1200" dirty="0"/>
        </a:p>
      </dsp:txBody>
      <dsp:txXfrm rot="10800000">
        <a:off x="242307" y="2166292"/>
        <a:ext cx="1748568" cy="2647690"/>
      </dsp:txXfrm>
    </dsp:sp>
    <dsp:sp modelId="{D3FD648B-60E4-4029-9DA6-BE2B4D2B4CBF}">
      <dsp:nvSpPr>
        <dsp:cNvPr id="0" name=""/>
        <dsp:cNvSpPr/>
      </dsp:nvSpPr>
      <dsp:spPr>
        <a:xfrm>
          <a:off x="2401317" y="288838"/>
          <a:ext cx="1277399" cy="1588614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BF23177-841A-4D1D-855E-251E8943525E}">
      <dsp:nvSpPr>
        <dsp:cNvPr id="0" name=""/>
        <dsp:cNvSpPr/>
      </dsp:nvSpPr>
      <dsp:spPr>
        <a:xfrm rot="10800000">
          <a:off x="2165733" y="2166292"/>
          <a:ext cx="1748568" cy="2647690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Oliver Klippel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u="sng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b="0" i="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4"/>
            </a:rPr>
            <a:t>oliver.klippel@telekom.de</a:t>
          </a:r>
          <a:endParaRPr lang="de-DE" sz="900" b="0" i="0" kern="1200" dirty="0" smtClean="0">
            <a:latin typeface="Arial" pitchFamily="34" charset="0"/>
            <a:cs typeface="Arial" pitchFamily="34" charset="0"/>
            <a:hlinkClick xmlns:r="http://schemas.openxmlformats.org/officeDocument/2006/relationships" r:id="rId2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100" kern="1200" dirty="0" smtClean="0"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. 50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endParaRPr lang="de-DE" sz="1100" kern="1200" dirty="0" smtClean="0">
            <a:latin typeface="Arial" pitchFamily="34" charset="0"/>
            <a:cs typeface="Arial" pitchFamily="34" charset="0"/>
          </a:endParaRPr>
        </a:p>
      </dsp:txBody>
      <dsp:txXfrm rot="10800000">
        <a:off x="2165733" y="2166292"/>
        <a:ext cx="1748568" cy="2647690"/>
      </dsp:txXfrm>
    </dsp:sp>
    <dsp:sp modelId="{A6AC8A74-F87C-4B02-9448-DDBB12841FDC}">
      <dsp:nvSpPr>
        <dsp:cNvPr id="0" name=""/>
        <dsp:cNvSpPr/>
      </dsp:nvSpPr>
      <dsp:spPr>
        <a:xfrm>
          <a:off x="4354582" y="288838"/>
          <a:ext cx="1217720" cy="1588614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5"/>
          <a:stretch>
            <a:fillRect/>
          </a:stretch>
        </a:blip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8B8A4A8-AC36-4440-ABC0-A80F7A3FC7A9}">
      <dsp:nvSpPr>
        <dsp:cNvPr id="0" name=""/>
        <dsp:cNvSpPr/>
      </dsp:nvSpPr>
      <dsp:spPr>
        <a:xfrm rot="10800000">
          <a:off x="4089158" y="2166292"/>
          <a:ext cx="1748568" cy="2647690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driano Perri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u="sng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b="0" i="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6"/>
            </a:rPr>
            <a:t>adriano.perri@telekom.de</a:t>
          </a:r>
          <a:endParaRPr lang="de-DE" sz="900" b="0" i="0" kern="1200" dirty="0" smtClean="0">
            <a:latin typeface="Arial" pitchFamily="34" charset="0"/>
            <a:cs typeface="Arial" pitchFamily="34" charset="0"/>
            <a:hlinkClick xmlns:r="http://schemas.openxmlformats.org/officeDocument/2006/relationships" r:id="rId4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100" kern="1200" dirty="0" smtClean="0"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. 50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	</a:t>
          </a:r>
        </a:p>
      </dsp:txBody>
      <dsp:txXfrm rot="10800000">
        <a:off x="4089158" y="2166292"/>
        <a:ext cx="1748568" cy="2647690"/>
      </dsp:txXfrm>
    </dsp:sp>
    <dsp:sp modelId="{3CFA2C21-08FD-4826-88F0-EC889468C537}">
      <dsp:nvSpPr>
        <dsp:cNvPr id="0" name=""/>
        <dsp:cNvSpPr/>
      </dsp:nvSpPr>
      <dsp:spPr>
        <a:xfrm>
          <a:off x="6334460" y="288838"/>
          <a:ext cx="1104815" cy="1588614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7"/>
          <a:stretch>
            <a:fillRect/>
          </a:stretch>
        </a:blip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3EAAE23-5CEE-4B31-8556-F61B9D1B2B74}">
      <dsp:nvSpPr>
        <dsp:cNvPr id="0" name=""/>
        <dsp:cNvSpPr/>
      </dsp:nvSpPr>
      <dsp:spPr>
        <a:xfrm rot="10800000">
          <a:off x="6012583" y="2166292"/>
          <a:ext cx="1748568" cy="2647690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Frank Klöker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u="sng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b="0" i="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8"/>
            </a:rPr>
            <a:t>frank.kloeker@telekom.de</a:t>
          </a:r>
          <a:endParaRPr lang="de-DE" sz="900" b="0" i="0" kern="1200" dirty="0" smtClean="0">
            <a:latin typeface="Arial" pitchFamily="34" charset="0"/>
            <a:cs typeface="Arial" pitchFamily="34" charset="0"/>
            <a:hlinkClick xmlns:r="http://schemas.openxmlformats.org/officeDocument/2006/relationships" r:id="rId6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100" kern="1200" dirty="0" smtClean="0"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. 50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	</a:t>
          </a:r>
        </a:p>
      </dsp:txBody>
      <dsp:txXfrm rot="10800000">
        <a:off x="6012583" y="2166292"/>
        <a:ext cx="1748568" cy="2647690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340240"/>
          <a:ext cx="7184070" cy="10867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312420" rIns="557564" bIns="10668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Oliver Klippel</a:t>
          </a:r>
          <a:endParaRPr lang="de-DE" sz="15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		23</a:t>
          </a:r>
          <a:endParaRPr lang="de-DE" sz="15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	 	Berlin</a:t>
          </a:r>
          <a:endParaRPr lang="de-DE" sz="15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340240"/>
        <a:ext cx="7184070" cy="1086750"/>
      </dsp:txXfrm>
    </dsp:sp>
    <dsp:sp modelId="{36EDF564-50E4-47F9-8DB5-BE5E735EFF0D}">
      <dsp:nvSpPr>
        <dsp:cNvPr id="0" name=""/>
        <dsp:cNvSpPr/>
      </dsp:nvSpPr>
      <dsp:spPr>
        <a:xfrm>
          <a:off x="359203" y="118840"/>
          <a:ext cx="5028849" cy="44280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18840"/>
        <a:ext cx="5028849" cy="442800"/>
      </dsp:txXfrm>
    </dsp:sp>
    <dsp:sp modelId="{148A2150-C136-4328-AEF5-922C2C3CE943}">
      <dsp:nvSpPr>
        <dsp:cNvPr id="0" name=""/>
        <dsp:cNvSpPr/>
      </dsp:nvSpPr>
      <dsp:spPr>
        <a:xfrm>
          <a:off x="0" y="1729390"/>
          <a:ext cx="7184070" cy="10867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312420" rIns="557564" bIns="10668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bitur</a:t>
          </a:r>
          <a:endParaRPr lang="de-DE" sz="15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1 semester computer science &amp; 1 semester media computer science </a:t>
          </a:r>
          <a:endParaRPr lang="de-DE" sz="15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until 2018</a:t>
          </a:r>
          <a:endParaRPr lang="de-DE" sz="15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1729390"/>
        <a:ext cx="7184070" cy="1086750"/>
      </dsp:txXfrm>
    </dsp:sp>
    <dsp:sp modelId="{BA975037-BE6C-4B32-8DBF-C84C73617461}">
      <dsp:nvSpPr>
        <dsp:cNvPr id="0" name=""/>
        <dsp:cNvSpPr/>
      </dsp:nvSpPr>
      <dsp:spPr>
        <a:xfrm>
          <a:off x="359203" y="1507990"/>
          <a:ext cx="5028849" cy="44280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507990"/>
        <a:ext cx="5028849" cy="442800"/>
      </dsp:txXfrm>
    </dsp:sp>
    <dsp:sp modelId="{1D380A2A-1436-4BC6-9682-4A6F1756B36A}">
      <dsp:nvSpPr>
        <dsp:cNvPr id="0" name=""/>
        <dsp:cNvSpPr/>
      </dsp:nvSpPr>
      <dsp:spPr>
        <a:xfrm>
          <a:off x="0" y="3118540"/>
          <a:ext cx="7184070" cy="10867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312420" rIns="557564" bIns="10668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		IT specialist for systemintegration</a:t>
          </a:r>
          <a:endParaRPr lang="de-DE" sz="15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		Deutsche Telekom AG</a:t>
          </a:r>
          <a:endParaRPr lang="de-DE" sz="15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		Business Applications &amp; Cloud Services</a:t>
          </a:r>
          <a:endParaRPr lang="de-DE" sz="15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3118540"/>
        <a:ext cx="7184070" cy="1086750"/>
      </dsp:txXfrm>
    </dsp:sp>
    <dsp:sp modelId="{6B6A897F-5665-48D8-ACE1-FC4B644D487D}">
      <dsp:nvSpPr>
        <dsp:cNvPr id="0" name=""/>
        <dsp:cNvSpPr/>
      </dsp:nvSpPr>
      <dsp:spPr>
        <a:xfrm>
          <a:off x="359203" y="2897141"/>
          <a:ext cx="5028849" cy="44280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2897141"/>
        <a:ext cx="5028849" cy="442800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421493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421493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421493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421493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421493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421493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421493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421493"/>
      </dsp:txXfrm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57539"/>
          <a:ext cx="7178173" cy="10867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106" tIns="312420" rIns="557106" bIns="10668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Janika Schäfer</a:t>
          </a:r>
          <a:endParaRPr lang="de-DE" sz="15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 		21</a:t>
          </a:r>
          <a:endParaRPr lang="de-DE" sz="15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sz="15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57539"/>
        <a:ext cx="7178173" cy="1086750"/>
      </dsp:txXfrm>
    </dsp:sp>
    <dsp:sp modelId="{36EDF564-50E4-47F9-8DB5-BE5E735EFF0D}">
      <dsp:nvSpPr>
        <dsp:cNvPr id="0" name=""/>
        <dsp:cNvSpPr/>
      </dsp:nvSpPr>
      <dsp:spPr>
        <a:xfrm>
          <a:off x="358908" y="36139"/>
          <a:ext cx="5024721" cy="44280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9922" tIns="0" rIns="18992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8908" y="36139"/>
        <a:ext cx="5024721" cy="442800"/>
      </dsp:txXfrm>
    </dsp:sp>
    <dsp:sp modelId="{148A2150-C136-4328-AEF5-922C2C3CE943}">
      <dsp:nvSpPr>
        <dsp:cNvPr id="0" name=""/>
        <dsp:cNvSpPr/>
      </dsp:nvSpPr>
      <dsp:spPr>
        <a:xfrm>
          <a:off x="0" y="1646689"/>
          <a:ext cx="7178173" cy="10867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106" tIns="312420" rIns="557106" bIns="10668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to IT systems technician</a:t>
          </a:r>
          <a:endParaRPr lang="de-DE" sz="15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with Abitur</a:t>
          </a:r>
          <a:endParaRPr lang="de-DE" sz="15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inished 2015 </a:t>
          </a:r>
          <a:endParaRPr lang="de-DE" sz="15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1646689"/>
        <a:ext cx="7178173" cy="1086750"/>
      </dsp:txXfrm>
    </dsp:sp>
    <dsp:sp modelId="{BA975037-BE6C-4B32-8DBF-C84C73617461}">
      <dsp:nvSpPr>
        <dsp:cNvPr id="0" name=""/>
        <dsp:cNvSpPr/>
      </dsp:nvSpPr>
      <dsp:spPr>
        <a:xfrm>
          <a:off x="358908" y="1425289"/>
          <a:ext cx="5024721" cy="44280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9922" tIns="0" rIns="18992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8908" y="1425289"/>
        <a:ext cx="5024721" cy="442800"/>
      </dsp:txXfrm>
    </dsp:sp>
    <dsp:sp modelId="{1D380A2A-1436-4BC6-9682-4A6F1756B36A}">
      <dsp:nvSpPr>
        <dsp:cNvPr id="0" name=""/>
        <dsp:cNvSpPr/>
      </dsp:nvSpPr>
      <dsp:spPr>
        <a:xfrm>
          <a:off x="0" y="3035839"/>
          <a:ext cx="7178173" cy="12757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106" tIns="312420" rIns="557106" bIns="10668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studying 	 	bachelor of engineering in communication &amp; media computer science</a:t>
          </a:r>
          <a:endParaRPr lang="de-DE" sz="15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 		Deutsche Telekom AG</a:t>
          </a:r>
          <a:endParaRPr lang="de-DE" sz="15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sz="15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3035839"/>
        <a:ext cx="7178173" cy="1275750"/>
      </dsp:txXfrm>
    </dsp:sp>
    <dsp:sp modelId="{6B6A897F-5665-48D8-ACE1-FC4B644D487D}">
      <dsp:nvSpPr>
        <dsp:cNvPr id="0" name=""/>
        <dsp:cNvSpPr/>
      </dsp:nvSpPr>
      <dsp:spPr>
        <a:xfrm>
          <a:off x="358908" y="2814439"/>
          <a:ext cx="5024721" cy="44280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9922" tIns="0" rIns="18992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8908" y="2814439"/>
        <a:ext cx="5024721" cy="442800"/>
      </dsp:txXfrm>
    </dsp:sp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421493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421493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421493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421493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421493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421493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421493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421493"/>
      </dsp:txXfrm>
    </dsp:sp>
  </dsp:spTree>
</dsp:drawing>
</file>

<file path=ppt/diagrams/drawing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352038"/>
          <a:ext cx="7184072" cy="10867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312420" rIns="557564" bIns="10668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Adriano Perri</a:t>
          </a:r>
          <a:endParaRPr lang="de-DE" sz="15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 		23</a:t>
          </a:r>
          <a:endParaRPr lang="de-DE" sz="15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sz="15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352038"/>
        <a:ext cx="7184072" cy="1086750"/>
      </dsp:txXfrm>
    </dsp:sp>
    <dsp:sp modelId="{36EDF564-50E4-47F9-8DB5-BE5E735EFF0D}">
      <dsp:nvSpPr>
        <dsp:cNvPr id="0" name=""/>
        <dsp:cNvSpPr/>
      </dsp:nvSpPr>
      <dsp:spPr>
        <a:xfrm>
          <a:off x="359203" y="130638"/>
          <a:ext cx="5028850" cy="44280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30638"/>
        <a:ext cx="5028850" cy="442800"/>
      </dsp:txXfrm>
    </dsp:sp>
    <dsp:sp modelId="{148A2150-C136-4328-AEF5-922C2C3CE943}">
      <dsp:nvSpPr>
        <dsp:cNvPr id="0" name=""/>
        <dsp:cNvSpPr/>
      </dsp:nvSpPr>
      <dsp:spPr>
        <a:xfrm>
          <a:off x="0" y="1741188"/>
          <a:ext cx="7184072" cy="10867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312420" rIns="557564" bIns="10668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bitur</a:t>
          </a:r>
          <a:endParaRPr lang="de-DE" sz="15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studied 2 semester geoecology</a:t>
          </a:r>
          <a:endParaRPr lang="de-DE" sz="15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until 2018</a:t>
          </a:r>
          <a:endParaRPr lang="de-DE" sz="15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1741188"/>
        <a:ext cx="7184072" cy="1086750"/>
      </dsp:txXfrm>
    </dsp:sp>
    <dsp:sp modelId="{BA975037-BE6C-4B32-8DBF-C84C73617461}">
      <dsp:nvSpPr>
        <dsp:cNvPr id="0" name=""/>
        <dsp:cNvSpPr/>
      </dsp:nvSpPr>
      <dsp:spPr>
        <a:xfrm>
          <a:off x="359203" y="1519788"/>
          <a:ext cx="5028850" cy="44280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519788"/>
        <a:ext cx="5028850" cy="442800"/>
      </dsp:txXfrm>
    </dsp:sp>
    <dsp:sp modelId="{1D380A2A-1436-4BC6-9682-4A6F1756B36A}">
      <dsp:nvSpPr>
        <dsp:cNvPr id="0" name=""/>
        <dsp:cNvSpPr/>
      </dsp:nvSpPr>
      <dsp:spPr>
        <a:xfrm>
          <a:off x="0" y="3130339"/>
          <a:ext cx="7184072" cy="10867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312420" rIns="557564" bIns="10668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 		management assistant in IT systems</a:t>
          </a:r>
          <a:endParaRPr lang="de-DE" sz="15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		Deutsche Telekom AG</a:t>
          </a:r>
          <a:endParaRPr lang="de-DE" sz="15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sz="15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3130339"/>
        <a:ext cx="7184072" cy="1086750"/>
      </dsp:txXfrm>
    </dsp:sp>
    <dsp:sp modelId="{6B6A897F-5665-48D8-ACE1-FC4B644D487D}">
      <dsp:nvSpPr>
        <dsp:cNvPr id="0" name=""/>
        <dsp:cNvSpPr/>
      </dsp:nvSpPr>
      <dsp:spPr>
        <a:xfrm>
          <a:off x="359203" y="2908938"/>
          <a:ext cx="5028850" cy="44280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2908938"/>
        <a:ext cx="5028850" cy="442800"/>
      </dsp:txXfrm>
    </dsp:sp>
  </dsp:spTree>
</dsp:drawing>
</file>

<file path=ppt/diagrams/drawing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421493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421493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421493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421493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421493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421493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421493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421493"/>
      </dsp:txXfrm>
    </dsp:sp>
  </dsp:spTree>
</dsp:drawing>
</file>

<file path=ppt/diagrams/drawing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421493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421493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421493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421493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421493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421493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421493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42149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bProcess3">
  <dgm:title val=""/>
  <dgm:desc val=""/>
  <dgm:catLst>
    <dgm:cat type="process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bkpt" val="endCnv"/>
        </dgm:alg>
      </dgm:if>
      <dgm:else name="Name3">
        <dgm:alg type="snake">
          <dgm:param type="grDir" val="tR"/>
          <dgm:param type="flowDir" val="row"/>
          <dgm:param type="contDir" val="same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23"/>
      <dgm:constr type="sp" refType="w" refFor="ch" refForName="sibTrans" op="equ"/>
      <dgm:constr type="userB" for="des" forName="connectorText" refType="sp"/>
      <dgm:constr type="primFontSz" for="ch" ptType="node" op="equ" val="65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 fact="0.6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choose name="Name4">
            <dgm:if name="Name5" axis="self" func="var" arg="dir" op="equ" val="norm">
              <dgm:alg type="conn">
                <dgm:param type="connRout" val="bend"/>
                <dgm:param type="dim" val="1D"/>
                <dgm:param type="begPts" val="midR bCtr"/>
                <dgm:param type="endPts" val="midL tCtr"/>
              </dgm:alg>
            </dgm:if>
            <dgm:else name="Name6">
              <dgm:alg type="conn">
                <dgm:param type="connRout" val="bend"/>
                <dgm:param type="dim" val="1D"/>
                <dgm:param type="begPts" val="midL bCtr"/>
                <dgm:param type="endPts" val="midR tCt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 val="-0.05"/>
            <dgm:constr type="endPad" val="0.9"/>
            <dgm:constr type="userA" for="ch" ref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userA"/>
              <dgm:constr type="userB"/>
              <dgm:constr type="w" refType="userA" fact="0.05"/>
              <dgm:constr type="h" refType="userB" fact="0.01"/>
              <dgm:constr type="lMarg" val="1"/>
              <dgm:constr type="rMarg" val="1"/>
              <dgm:constr type="tMarg"/>
              <dgm:constr type="bMarg"/>
            </dgm:constrLst>
            <dgm:ruleLst>
              <dgm:rule type="w" val="NaN" fact="0.6" max="NaN"/>
              <dgm:rule type="h" val="NaN" fact="0.6" max="NaN"/>
              <dgm:rule type="primFontSz" val="5" fact="NaN" max="NaN"/>
            </dgm:ruleLst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5/8/layout/pList2">
  <dgm:title val=""/>
  <dgm:desc val=""/>
  <dgm:catLst>
    <dgm:cat type="list" pri="1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04.11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 dirty="0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76250" y="1012825"/>
            <a:ext cx="6116638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04.11.2016</a:t>
            </a:fld>
            <a:endParaRPr lang="de-DE" dirty="0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 dirty="0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04.11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xfrm>
            <a:off x="476250" y="1012825"/>
            <a:ext cx="6116638" cy="4586288"/>
          </a:xfrm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04.11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98538" y="769938"/>
            <a:ext cx="5113337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7894638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1012825"/>
            <a:ext cx="6116638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04.11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1012825"/>
            <a:ext cx="6116638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04.11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1012825"/>
            <a:ext cx="6116638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04.11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04.11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98538" y="769938"/>
            <a:ext cx="5113337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78946385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04.11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xfrm>
            <a:off x="476250" y="1012825"/>
            <a:ext cx="6116638" cy="4586288"/>
          </a:xfrm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04.11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xfrm>
            <a:off x="476250" y="1012825"/>
            <a:ext cx="6116638" cy="4586288"/>
          </a:xfrm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04.11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98538" y="769938"/>
            <a:ext cx="5113337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7894638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076325" y="768350"/>
            <a:ext cx="4949825" cy="37115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tt.mm.jjjj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95647" y="9670501"/>
            <a:ext cx="4639700" cy="314291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5592336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04.11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98538" y="769938"/>
            <a:ext cx="5113337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7894638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1012825"/>
            <a:ext cx="6116638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04.11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1012825"/>
            <a:ext cx="6116638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04.11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1012825"/>
            <a:ext cx="6116638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04.11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B2827797-408F-4D8D-9A52-7C4043576B32}" type="datetimeFigureOut">
              <a:rPr lang="de-DE"/>
              <a:pPr/>
              <a:t>04.11.2016</a:t>
            </a:fld>
            <a:endParaRPr lang="de-DE" dirty="0"/>
          </a:p>
        </p:txBody>
      </p:sp>
      <p:sp>
        <p:nvSpPr>
          <p:cNvPr id="415746" name="Rectangle 4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08038" y="846138"/>
            <a:ext cx="5483225" cy="4111625"/>
          </a:xfrm>
          <a:noFill/>
          <a:ln>
            <a:miter lim="800000"/>
            <a:headEnd/>
            <a:tailEnd/>
          </a:ln>
        </p:spPr>
      </p:sp>
      <p:sp>
        <p:nvSpPr>
          <p:cNvPr id="415747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565150" y="5118101"/>
            <a:ext cx="5972175" cy="4741863"/>
          </a:xfrm>
          <a:noFill/>
        </p:spPr>
        <p:txBody>
          <a:bodyPr lIns="99181" tIns="49590" rIns="99181" bIns="49590"/>
          <a:lstStyle/>
          <a:p>
            <a:pPr marL="189152" indent="-189152" defTabSz="955713"/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2302764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1012825"/>
            <a:ext cx="6116638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04.11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1012825"/>
            <a:ext cx="6116638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04.11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oleObject" Target="../embeddings/oleObject8.bin"/><Relationship Id="rId2" Type="http://schemas.openxmlformats.org/officeDocument/2006/relationships/tags" Target="../tags/tag34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7.xml"/><Relationship Id="rId4" Type="http://schemas.openxmlformats.org/officeDocument/2006/relationships/tags" Target="../tags/tag36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9.v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0.vml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7.emf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tags" Target="../tags/tag16.xml"/><Relationship Id="rId11" Type="http://schemas.openxmlformats.org/officeDocument/2006/relationships/image" Target="../media/image5.emf"/><Relationship Id="rId5" Type="http://schemas.openxmlformats.org/officeDocument/2006/relationships/tags" Target="../tags/tag15.xml"/><Relationship Id="rId10" Type="http://schemas.openxmlformats.org/officeDocument/2006/relationships/image" Target="../media/image4.jpeg"/><Relationship Id="rId4" Type="http://schemas.openxmlformats.org/officeDocument/2006/relationships/tags" Target="../tags/tag14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tags" Target="../tags/tag22.xml"/><Relationship Id="rId11" Type="http://schemas.openxmlformats.org/officeDocument/2006/relationships/image" Target="../media/image7.emf"/><Relationship Id="rId5" Type="http://schemas.openxmlformats.org/officeDocument/2006/relationships/tags" Target="../tags/tag21.xml"/><Relationship Id="rId10" Type="http://schemas.openxmlformats.org/officeDocument/2006/relationships/image" Target="../media/image5.emf"/><Relationship Id="rId4" Type="http://schemas.openxmlformats.org/officeDocument/2006/relationships/tags" Target="../tags/tag20.xml"/><Relationship Id="rId9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3.emf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8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tags" Target="../tags/tag28.xml"/><Relationship Id="rId11" Type="http://schemas.openxmlformats.org/officeDocument/2006/relationships/oleObject" Target="../embeddings/oleObject5.bin"/><Relationship Id="rId5" Type="http://schemas.openxmlformats.org/officeDocument/2006/relationships/tags" Target="../tags/tag2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6.xml"/><Relationship Id="rId9" Type="http://schemas.openxmlformats.org/officeDocument/2006/relationships/tags" Target="../tags/tag3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91" y="1589"/>
          <a:ext cx="1587" cy="1587"/>
        </p:xfrm>
        <a:graphic>
          <a:graphicData uri="http://schemas.openxmlformats.org/presentationml/2006/ole">
            <p:oleObj spid="_x0000_s45072" name="think-cell Slide" r:id="rId7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773237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 bwMode="black">
          <a:xfrm>
            <a:off x="304800" y="3676655"/>
            <a:ext cx="8496300" cy="332399"/>
          </a:xfrm>
        </p:spPr>
        <p:txBody>
          <a:bodyPr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</a:p>
        </p:txBody>
      </p:sp>
      <p:pic>
        <p:nvPicPr>
          <p:cNvPr id="45079" name="Picture 23" descr="T_Logo_3c_Slogan_n_DE_EMF CD EXPOR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/>
          <a:srcRect r="69640"/>
          <a:stretch>
            <a:fillRect/>
          </a:stretch>
        </p:blipFill>
        <p:spPr bwMode="black">
          <a:xfrm>
            <a:off x="323850" y="6137277"/>
            <a:ext cx="908050" cy="396875"/>
          </a:xfrm>
          <a:prstGeom prst="rect">
            <a:avLst/>
          </a:prstGeom>
          <a:noFill/>
        </p:spPr>
      </p:pic>
      <p:pic>
        <p:nvPicPr>
          <p:cNvPr id="45080" name="Picture 24" descr="T_Logo_3c_Slogan_n_DE_EMF CD EXPORT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8"/>
          <a:srcRect l="40712"/>
          <a:stretch>
            <a:fillRect/>
          </a:stretch>
        </p:blipFill>
        <p:spPr bwMode="black">
          <a:xfrm>
            <a:off x="7042150" y="6137277"/>
            <a:ext cx="1773238" cy="39687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807" y="1773242"/>
            <a:ext cx="4200525" cy="42846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38682" y="1773242"/>
            <a:ext cx="4162425" cy="42846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33" y="6431571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428A85F0-2F05-4A49-9568-A870DCFFBF83}" type="datetime1">
              <a:rPr lang="de-DE" smtClean="0"/>
              <a:pPr/>
              <a:t>04.11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1571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8" y="643157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42"/>
            <a:ext cx="2736000" cy="42846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76010" y="1773242"/>
            <a:ext cx="2736000" cy="42846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33" y="6431571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197AF7BB-8A71-4BE1-858E-F0715F15AE0B}" type="datetime1">
              <a:rPr lang="de-DE" smtClean="0"/>
              <a:pPr/>
              <a:t>04.11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1571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8" y="643157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190404" y="1773242"/>
            <a:ext cx="2736000" cy="42846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42"/>
            <a:ext cx="2028826" cy="42846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7575" y="1773242"/>
            <a:ext cx="2030400" cy="42846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33" y="6431571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1E79667D-9403-4E7D-B8BF-7AD8FA3D5C06}" type="datetime1">
              <a:rPr lang="de-DE" smtClean="0"/>
              <a:pPr/>
              <a:t>04.11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1571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8" y="643157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465400" y="1773242"/>
            <a:ext cx="2030400" cy="42846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789750" y="1773242"/>
            <a:ext cx="2030400" cy="42846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vigationsleiste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/>
        </p:nvGraphicFramePr>
        <p:xfrm>
          <a:off x="1591" y="1589"/>
          <a:ext cx="1587" cy="1587"/>
        </p:xfrm>
        <a:graphic>
          <a:graphicData uri="http://schemas.openxmlformats.org/presentationml/2006/ole">
            <p:oleObj spid="_x0000_s293890" name="think-cell Slide" r:id="rId7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8540758" y="643157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7" name="Rectangle 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" y="6269833"/>
            <a:ext cx="290877" cy="376239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spAutoFit/>
          </a:bodyPr>
          <a:lstStyle/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321467" y="1773242"/>
            <a:ext cx="8496300" cy="4575175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Navigationsleiste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/>
        </p:nvGraphicFramePr>
        <p:xfrm>
          <a:off x="1591" y="1589"/>
          <a:ext cx="1587" cy="1587"/>
        </p:xfrm>
        <a:graphic>
          <a:graphicData uri="http://schemas.openxmlformats.org/presentationml/2006/ole">
            <p:oleObj spid="_x0000_s294914" name="think-cell Slide" r:id="rId8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8540758" y="643157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Rectangle 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" y="6269833"/>
            <a:ext cx="290877" cy="376239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spAutoFit/>
          </a:bodyPr>
          <a:lstStyle/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  <p:custDataLst>
              <p:tags r:id="rId5"/>
            </p:custDataLst>
          </p:nvPr>
        </p:nvSpPr>
        <p:spPr>
          <a:xfrm>
            <a:off x="304807" y="1773242"/>
            <a:ext cx="4200525" cy="457517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  <p:custDataLst>
              <p:tags r:id="rId6"/>
            </p:custDataLst>
          </p:nvPr>
        </p:nvSpPr>
        <p:spPr>
          <a:xfrm>
            <a:off x="4638682" y="1773242"/>
            <a:ext cx="4162425" cy="457517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91" y="1589"/>
          <a:ext cx="1587" cy="1587"/>
        </p:xfrm>
        <a:graphic>
          <a:graphicData uri="http://schemas.openxmlformats.org/presentationml/2006/ole">
            <p:oleObj spid="_x0000_s297986" name="think-cell Slide" r:id="rId5" imgW="360" imgH="360" progId="">
              <p:embed/>
            </p:oleObj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white">
          <a:xfrm>
            <a:off x="0" y="0"/>
            <a:ext cx="9144000" cy="634841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773237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9" y="266694"/>
            <a:ext cx="8490331" cy="415498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40" name="Datumsplatzhalter 39"/>
          <p:cNvSpPr>
            <a:spLocks noGrp="1"/>
          </p:cNvSpPr>
          <p:nvPr>
            <p:ph type="dt" sz="half" idx="10"/>
          </p:nvPr>
        </p:nvSpPr>
        <p:spPr>
          <a:xfrm>
            <a:off x="6804033" y="6431571"/>
            <a:ext cx="1800225" cy="138499"/>
          </a:xfrm>
        </p:spPr>
        <p:txBody>
          <a:bodyPr/>
          <a:lstStyle/>
          <a:p>
            <a:fld id="{1CEBC254-7842-4881-BFD6-96A5FD53D486}" type="datetime1">
              <a:rPr lang="de-DE" smtClean="0"/>
              <a:pPr/>
              <a:t>04.11.2016</a:t>
            </a:fld>
            <a:endParaRPr lang="de-DE" dirty="0"/>
          </a:p>
        </p:txBody>
      </p:sp>
      <p:sp>
        <p:nvSpPr>
          <p:cNvPr id="41" name="Foliennummernplatzhalter 40"/>
          <p:cNvSpPr>
            <a:spLocks noGrp="1"/>
          </p:cNvSpPr>
          <p:nvPr>
            <p:ph type="sldNum" sz="quarter" idx="11"/>
          </p:nvPr>
        </p:nvSpPr>
        <p:spPr>
          <a:xfrm>
            <a:off x="8540758" y="6431571"/>
            <a:ext cx="288925" cy="138499"/>
          </a:xfrm>
        </p:spPr>
        <p:txBody>
          <a:bodyPr/>
          <a:lstStyle/>
          <a:p>
            <a:fld id="{383FF9DF-EEDF-42AD-BDFB-DE3D95DE5D6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2" name="Fußzeilenplatzhalter 41"/>
          <p:cNvSpPr>
            <a:spLocks noGrp="1"/>
          </p:cNvSpPr>
          <p:nvPr>
            <p:ph type="ftr" sz="quarter" idx="12"/>
          </p:nvPr>
        </p:nvSpPr>
        <p:spPr>
          <a:xfrm>
            <a:off x="2557463" y="6431571"/>
            <a:ext cx="4102100" cy="138499"/>
          </a:xfrm>
        </p:spPr>
        <p:txBody>
          <a:bodyPr/>
          <a:lstStyle/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rennfolie Struktu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8" y="750"/>
            <a:ext cx="9143433" cy="6856511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9" y="1371371"/>
            <a:ext cx="8490331" cy="2035942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eleGrotesk HEADLINE </a:t>
            </a:r>
            <a: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al 3-Zeilig</a:t>
            </a:r>
            <a:b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>
          <a:xfrm>
            <a:off x="6804033" y="6431571"/>
            <a:ext cx="1800225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5F0CD8F-C002-44AD-9563-61226BA408F8}" type="datetime1">
              <a:rPr lang="de-DE" smtClean="0"/>
              <a:pPr/>
              <a:t>04.11.2016</a:t>
            </a:fld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>
          <a:xfrm>
            <a:off x="8540758" y="6431571"/>
            <a:ext cx="288925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83FF9DF-EEDF-42AD-BDFB-DE3D95DE5D6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2"/>
          </p:nvPr>
        </p:nvSpPr>
        <p:spPr>
          <a:xfrm>
            <a:off x="2557463" y="6431571"/>
            <a:ext cx="4102100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675154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i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91" y="1589"/>
          <a:ext cx="1587" cy="1587"/>
        </p:xfrm>
        <a:graphic>
          <a:graphicData uri="http://schemas.openxmlformats.org/presentationml/2006/ole">
            <p:oleObj spid="_x0000_s236546" name="think-cell Slide" r:id="rId9" imgW="360" imgH="360" progId="">
              <p:embed/>
            </p:oleObj>
          </a:graphicData>
        </a:graphic>
      </p:graphicFrame>
      <p:pic>
        <p:nvPicPr>
          <p:cNvPr id="7" name="Picture 16" descr="musterbild_1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10"/>
          <a:srcRect b="28815"/>
          <a:stretch>
            <a:fillRect/>
          </a:stretch>
        </p:blipFill>
        <p:spPr bwMode="auto">
          <a:xfrm>
            <a:off x="319088" y="327030"/>
            <a:ext cx="8501062" cy="4033839"/>
          </a:xfrm>
          <a:prstGeom prst="rect">
            <a:avLst/>
          </a:prstGeom>
          <a:noFill/>
        </p:spPr>
      </p:pic>
      <p:pic>
        <p:nvPicPr>
          <p:cNvPr id="8" name="Picture 26" descr="T_Logo_3c_Slogan_p_DE_EMF CD EXPORT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1"/>
          <a:srcRect r="63742"/>
          <a:stretch>
            <a:fillRect/>
          </a:stretch>
        </p:blipFill>
        <p:spPr bwMode="black">
          <a:xfrm>
            <a:off x="323850" y="6138869"/>
            <a:ext cx="1079500" cy="395287"/>
          </a:xfrm>
          <a:prstGeom prst="rect">
            <a:avLst/>
          </a:prstGeom>
          <a:noFill/>
        </p:spPr>
      </p:pic>
      <p:pic>
        <p:nvPicPr>
          <p:cNvPr id="10" name="Picture 30" descr="magenta_flaeche_70"/>
          <p:cNvPicPr>
            <a:picLocks noChangeArrowheads="1"/>
          </p:cNvPicPr>
          <p:nvPr userDrawn="1">
            <p:custDataLst>
              <p:tags r:id="rId4"/>
            </p:custDataLst>
          </p:nvPr>
        </p:nvPicPr>
        <p:blipFill>
          <a:blip r:embed="rId12"/>
          <a:srcRect r="11" b="-468"/>
          <a:stretch>
            <a:fillRect/>
          </a:stretch>
        </p:blipFill>
        <p:spPr bwMode="ltGray">
          <a:xfrm>
            <a:off x="319088" y="3768728"/>
            <a:ext cx="8501062" cy="430213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 bwMode="ltGray">
          <a:xfrm>
            <a:off x="319088" y="4078293"/>
            <a:ext cx="8496300" cy="1690687"/>
          </a:xfrm>
          <a:solidFill>
            <a:srgbClr val="E20074"/>
          </a:solidFill>
        </p:spPr>
        <p:txBody>
          <a:bodyPr lIns="144000" tIns="0">
            <a:no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pic>
        <p:nvPicPr>
          <p:cNvPr id="9" name="Picture 27" descr="T_Logo_3c_Slogan_p_DE_EMF CD EXPORT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/>
          <a:srcRect l="40443"/>
          <a:stretch>
            <a:fillRect/>
          </a:stretch>
        </p:blipFill>
        <p:spPr bwMode="black">
          <a:xfrm>
            <a:off x="7043746" y="6138869"/>
            <a:ext cx="1773237" cy="395287"/>
          </a:xfrm>
          <a:prstGeom prst="rect">
            <a:avLst/>
          </a:prstGeom>
          <a:noFill/>
        </p:spPr>
      </p:pic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5158806"/>
            <a:ext cx="8496300" cy="332399"/>
          </a:xfrm>
        </p:spPr>
        <p:txBody>
          <a:bodyPr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91" y="1589"/>
          <a:ext cx="1587" cy="1587"/>
        </p:xfrm>
        <a:graphic>
          <a:graphicData uri="http://schemas.openxmlformats.org/presentationml/2006/ole">
            <p:oleObj spid="_x0000_s237570" name="think-cell Slide" r:id="rId9" imgW="360" imgH="360" progId="">
              <p:embed/>
            </p:oleObj>
          </a:graphicData>
        </a:graphic>
      </p:graphicFrame>
      <p:sp>
        <p:nvSpPr>
          <p:cNvPr id="11" name="Titel 3"/>
          <p:cNvSpPr>
            <a:spLocks/>
          </p:cNvSpPr>
          <p:nvPr userDrawn="1">
            <p:custDataLst>
              <p:tags r:id="rId2"/>
            </p:custDataLst>
          </p:nvPr>
        </p:nvSpPr>
        <p:spPr bwMode="invGray">
          <a:xfrm>
            <a:off x="319096" y="4402140"/>
            <a:ext cx="8510587" cy="1366837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12" name="Titel 3"/>
          <p:cNvSpPr>
            <a:spLocks/>
          </p:cNvSpPr>
          <p:nvPr userDrawn="1">
            <p:custDataLst>
              <p:tags r:id="rId3"/>
            </p:custDataLst>
          </p:nvPr>
        </p:nvSpPr>
        <p:spPr bwMode="invGray">
          <a:xfrm>
            <a:off x="319096" y="3340101"/>
            <a:ext cx="8186737" cy="242887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pic>
        <p:nvPicPr>
          <p:cNvPr id="8" name="Picture 26" descr="T_Logo_3c_Slogan_p_DE_EMF CD EXPOR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0"/>
          <a:srcRect r="63742"/>
          <a:stretch>
            <a:fillRect/>
          </a:stretch>
        </p:blipFill>
        <p:spPr bwMode="black">
          <a:xfrm>
            <a:off x="323850" y="6138869"/>
            <a:ext cx="1079500" cy="395287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 bwMode="ltGray">
          <a:xfrm>
            <a:off x="319088" y="3608975"/>
            <a:ext cx="7736400" cy="2160000"/>
          </a:xfrm>
          <a:solidFill>
            <a:srgbClr val="E20074"/>
          </a:solidFill>
        </p:spPr>
        <p:txBody>
          <a:bodyPr lIns="144000" tIns="0">
            <a:noAutofit/>
          </a:bodyPr>
          <a:lstStyle>
            <a:lvl1pPr>
              <a:lnSpc>
                <a:spcPct val="90000"/>
              </a:lnSpc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pic>
        <p:nvPicPr>
          <p:cNvPr id="9" name="Picture 27" descr="T_Logo_3c_Slogan_p_DE_EMF CD EXPORT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1"/>
          <a:srcRect l="40443"/>
          <a:stretch>
            <a:fillRect/>
          </a:stretch>
        </p:blipFill>
        <p:spPr bwMode="black">
          <a:xfrm>
            <a:off x="7043746" y="6138869"/>
            <a:ext cx="1773237" cy="395287"/>
          </a:xfrm>
          <a:prstGeom prst="rect">
            <a:avLst/>
          </a:prstGeom>
          <a:noFill/>
        </p:spPr>
      </p:pic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4942806"/>
            <a:ext cx="7587488" cy="332399"/>
          </a:xfrm>
        </p:spPr>
        <p:txBody>
          <a:bodyPr wrap="square"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it_Bild_und_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91" y="1589"/>
          <a:ext cx="1587" cy="1587"/>
        </p:xfrm>
        <a:graphic>
          <a:graphicData uri="http://schemas.openxmlformats.org/presentationml/2006/ole">
            <p:oleObj spid="_x0000_s238594" name="think-cell Slide" r:id="rId11" imgW="360" imgH="360" progId="">
              <p:embed/>
            </p:oleObj>
          </a:graphicData>
        </a:graphic>
      </p:graphicFrame>
      <p:pic>
        <p:nvPicPr>
          <p:cNvPr id="10" name="Bild 12" descr="Musterbild.jp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itel 3"/>
          <p:cNvSpPr>
            <a:spLocks/>
          </p:cNvSpPr>
          <p:nvPr userDrawn="1">
            <p:custDataLst>
              <p:tags r:id="rId3"/>
            </p:custDataLst>
          </p:nvPr>
        </p:nvSpPr>
        <p:spPr bwMode="invGray">
          <a:xfrm>
            <a:off x="319096" y="4402139"/>
            <a:ext cx="8510587" cy="2144712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14" name="Titel 3"/>
          <p:cNvSpPr>
            <a:spLocks/>
          </p:cNvSpPr>
          <p:nvPr userDrawn="1">
            <p:custDataLst>
              <p:tags r:id="rId4"/>
            </p:custDataLst>
          </p:nvPr>
        </p:nvSpPr>
        <p:spPr bwMode="invGray">
          <a:xfrm>
            <a:off x="319096" y="3340100"/>
            <a:ext cx="8186737" cy="3189288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21" name="Titelplatzhalter 1"/>
          <p:cNvSpPr txBox="1">
            <a:spLocks/>
          </p:cNvSpPr>
          <p:nvPr userDrawn="1">
            <p:custDataLst>
              <p:tags r:id="rId5"/>
            </p:custDataLst>
          </p:nvPr>
        </p:nvSpPr>
        <p:spPr bwMode="ltGray">
          <a:xfrm>
            <a:off x="319088" y="3608976"/>
            <a:ext cx="7736400" cy="2920413"/>
          </a:xfrm>
          <a:prstGeom prst="rect">
            <a:avLst/>
          </a:prstGeom>
          <a:solidFill>
            <a:srgbClr val="E20074"/>
          </a:solidFill>
          <a:ln w="9525">
            <a:noFill/>
            <a:miter lim="800000"/>
            <a:headEnd/>
            <a:tailEnd/>
          </a:ln>
        </p:spPr>
        <p:txBody>
          <a:bodyPr vert="horz" wrap="square" lIns="14400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ele-GroteskUlt" pitchFamily="2" charset="0"/>
              <a:ea typeface="+mj-ea"/>
              <a:cs typeface="TeleGrotesk Headline Ultra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6"/>
            </p:custDataLst>
          </p:nvPr>
        </p:nvSpPr>
        <p:spPr bwMode="white">
          <a:xfrm>
            <a:off x="319088" y="3608975"/>
            <a:ext cx="7736400" cy="1107996"/>
          </a:xfrm>
          <a:noFill/>
        </p:spPr>
        <p:txBody>
          <a:bodyPr lIns="144000" tIns="0">
            <a:sp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4942806"/>
            <a:ext cx="7587488" cy="332399"/>
          </a:xfrm>
        </p:spPr>
        <p:txBody>
          <a:bodyPr wrap="square"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pic>
        <p:nvPicPr>
          <p:cNvPr id="11" name="Picture 23" descr="T_Logo_3c_Slogan_n_DE_EMF CD EXPORT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3"/>
          <a:srcRect r="69640"/>
          <a:stretch>
            <a:fillRect/>
          </a:stretch>
        </p:blipFill>
        <p:spPr bwMode="black">
          <a:xfrm>
            <a:off x="484188" y="5964241"/>
            <a:ext cx="908050" cy="396875"/>
          </a:xfrm>
          <a:prstGeom prst="rect">
            <a:avLst/>
          </a:prstGeom>
          <a:noFill/>
        </p:spPr>
      </p:pic>
      <p:pic>
        <p:nvPicPr>
          <p:cNvPr id="12" name="Picture 24" descr="T_Logo_3c_Slogan_n_DE_EMF CD EXPORT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/>
          <a:srcRect l="40712"/>
          <a:stretch>
            <a:fillRect/>
          </a:stretch>
        </p:blipFill>
        <p:spPr bwMode="black">
          <a:xfrm>
            <a:off x="6904037" y="5964241"/>
            <a:ext cx="1773238" cy="39687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91" y="1589"/>
          <a:ext cx="1587" cy="1587"/>
        </p:xfrm>
        <a:graphic>
          <a:graphicData uri="http://schemas.openxmlformats.org/presentationml/2006/ole">
            <p:oleObj spid="_x0000_s239618" name="think-cell Slide" r:id="rId4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773237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_Grau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91" y="1589"/>
          <a:ext cx="1587" cy="1587"/>
        </p:xfrm>
        <a:graphic>
          <a:graphicData uri="http://schemas.openxmlformats.org/presentationml/2006/ole">
            <p:oleObj spid="_x0000_s240642" name="think-cell Slide" r:id="rId4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773237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6804033" y="6431571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5E51288E-2672-4309-9252-76FD6580917C}" type="datetime1">
              <a:rPr lang="de-DE" smtClean="0"/>
              <a:pPr/>
              <a:t>04.11.2016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557463" y="6431571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540758" y="643157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B03C9E69-E43C-4763-8857-C1F967C53060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804033" y="6431571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52E9185D-C9FC-45FA-8FFF-58E5FC476BD6}" type="datetime1">
              <a:rPr lang="de-DE" smtClean="0"/>
              <a:pPr/>
              <a:t>04.11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57463" y="6431571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40758" y="643157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EF856C3B-4879-44CB-8ACD-F9C43CE31EF6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16712" y="1773238"/>
            <a:ext cx="8503445" cy="4283075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804033" y="6431571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2663C95C-6192-49E4-8ECF-2F2123753266}" type="datetime1">
              <a:rPr lang="de-DE" smtClean="0"/>
              <a:pPr/>
              <a:t>04.11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6431571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540758" y="643157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5" name="Object 51" hidden="1"/>
          <p:cNvGraphicFramePr>
            <a:graphicFrameLocks noChangeAspect="1"/>
          </p:cNvGraphicFramePr>
          <p:nvPr/>
        </p:nvGraphicFramePr>
        <p:xfrm>
          <a:off x="1591" y="1589"/>
          <a:ext cx="1587" cy="1587"/>
        </p:xfrm>
        <a:graphic>
          <a:graphicData uri="http://schemas.openxmlformats.org/presentationml/2006/ole">
            <p:oleObj spid="_x0000_s1075" name="think-cell Slide" r:id="rId26" imgW="360" imgH="360" progId="">
              <p:embed/>
            </p:oleObj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gray">
          <a:xfrm>
            <a:off x="304800" y="333375"/>
            <a:ext cx="8496300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gray">
          <a:xfrm>
            <a:off x="304800" y="1773242"/>
            <a:ext cx="8496300" cy="4284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 bwMode="gray">
          <a:xfrm>
            <a:off x="6804033" y="6431571"/>
            <a:ext cx="180022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B24C9FE0-FFF6-4D03-BFDB-FE5D4DB8811D}" type="datetime1">
              <a:rPr lang="de-DE" smtClean="0"/>
              <a:pPr/>
              <a:t>04.11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3"/>
            </p:custDataLst>
          </p:nvPr>
        </p:nvSpPr>
        <p:spPr bwMode="gray">
          <a:xfrm>
            <a:off x="2557463" y="6431571"/>
            <a:ext cx="41021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24"/>
            </p:custDataLst>
          </p:nvPr>
        </p:nvSpPr>
        <p:spPr bwMode="gray">
          <a:xfrm>
            <a:off x="8540758" y="6431571"/>
            <a:ext cx="28892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DC074D37-AEB9-46CA-B316-7CBCC268AF09}" type="slidenum">
              <a:rPr lang="de-DE"/>
              <a:pPr/>
              <a:t>‹Nr.›</a:t>
            </a:fld>
            <a:endParaRPr lang="de-DE" dirty="0"/>
          </a:p>
        </p:txBody>
      </p:sp>
      <p:pic>
        <p:nvPicPr>
          <p:cNvPr id="1077" name="Picture 53" descr="T_Logo_3c_Slogan_p_DE_EMF CD EXPORT"/>
          <p:cNvPicPr>
            <a:picLocks noChangeAspect="1" noChangeArrowheads="1"/>
          </p:cNvPicPr>
          <p:nvPr>
            <p:custDataLst>
              <p:tags r:id="rId25"/>
            </p:custDataLst>
          </p:nvPr>
        </p:nvPicPr>
        <p:blipFill>
          <a:blip r:embed="rId27"/>
          <a:srcRect/>
          <a:stretch>
            <a:fillRect/>
          </a:stretch>
        </p:blipFill>
        <p:spPr bwMode="black">
          <a:xfrm>
            <a:off x="319096" y="6346828"/>
            <a:ext cx="2173287" cy="288925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51" r:id="rId7"/>
    <p:sldLayoutId id="2147483752" r:id="rId8"/>
    <p:sldLayoutId id="2147483753" r:id="rId9"/>
    <p:sldLayoutId id="2147483754" r:id="rId10"/>
    <p:sldLayoutId id="2147483760" r:id="rId11"/>
    <p:sldLayoutId id="2147483761" r:id="rId12"/>
    <p:sldLayoutId id="2147483762" r:id="rId13"/>
    <p:sldLayoutId id="2147483763" r:id="rId14"/>
    <p:sldLayoutId id="2147483766" r:id="rId15"/>
    <p:sldLayoutId id="2147483768" r:id="rId16"/>
    <p:sldLayoutId id="2147483770" r:id="rId17"/>
  </p:sldLayoutIdLst>
  <p:timing>
    <p:tnLst>
      <p:par>
        <p:cTn id="1" dur="indefinite" restart="never" nodeType="tmRoot"/>
      </p:par>
    </p:tnLst>
  </p:timing>
  <p:hf hdr="0"/>
  <p:txStyles>
    <p:titleStyle>
      <a:lvl1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de-DE" sz="30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2pPr>
      <a:lvl3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3pPr>
      <a:lvl4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4pPr>
      <a:lvl5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5pPr>
      <a:lvl6pPr marL="4572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6pPr>
      <a:lvl7pPr marL="9144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7pPr>
      <a:lvl8pPr marL="13716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8pPr>
      <a:lvl9pPr marL="18288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6213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352425" indent="-1714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841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3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13" Type="http://schemas.openxmlformats.org/officeDocument/2006/relationships/diagramColors" Target="../diagrams/colors12.xml"/><Relationship Id="rId3" Type="http://schemas.openxmlformats.org/officeDocument/2006/relationships/image" Target="../media/image13.jpeg"/><Relationship Id="rId7" Type="http://schemas.openxmlformats.org/officeDocument/2006/relationships/image" Target="../media/image24.jpeg"/><Relationship Id="rId12" Type="http://schemas.openxmlformats.org/officeDocument/2006/relationships/diagramQuickStyle" Target="../diagrams/quickStyle12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3.jpeg"/><Relationship Id="rId11" Type="http://schemas.openxmlformats.org/officeDocument/2006/relationships/diagramLayout" Target="../diagrams/layout12.xml"/><Relationship Id="rId5" Type="http://schemas.openxmlformats.org/officeDocument/2006/relationships/image" Target="../media/image22.jpeg"/><Relationship Id="rId15" Type="http://schemas.openxmlformats.org/officeDocument/2006/relationships/image" Target="../media/image11.jpeg"/><Relationship Id="rId10" Type="http://schemas.openxmlformats.org/officeDocument/2006/relationships/diagramData" Target="../diagrams/data12.xml"/><Relationship Id="rId4" Type="http://schemas.openxmlformats.org/officeDocument/2006/relationships/image" Target="../media/image21.jpeg"/><Relationship Id="rId9" Type="http://schemas.openxmlformats.org/officeDocument/2006/relationships/image" Target="../media/image26.png"/><Relationship Id="rId14" Type="http://schemas.microsoft.com/office/2007/relationships/diagramDrawing" Target="../diagrams/drawing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3.xml"/><Relationship Id="rId13" Type="http://schemas.microsoft.com/office/2007/relationships/diagramDrawing" Target="../diagrams/drawing14.xml"/><Relationship Id="rId3" Type="http://schemas.openxmlformats.org/officeDocument/2006/relationships/image" Target="../media/image27.jpeg"/><Relationship Id="rId7" Type="http://schemas.openxmlformats.org/officeDocument/2006/relationships/diagramColors" Target="../diagrams/colors13.xml"/><Relationship Id="rId12" Type="http://schemas.openxmlformats.org/officeDocument/2006/relationships/diagramColors" Target="../diagrams/colors14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3.xml"/><Relationship Id="rId11" Type="http://schemas.openxmlformats.org/officeDocument/2006/relationships/diagramQuickStyle" Target="../diagrams/quickStyle14.xml"/><Relationship Id="rId5" Type="http://schemas.openxmlformats.org/officeDocument/2006/relationships/diagramLayout" Target="../diagrams/layout13.xml"/><Relationship Id="rId10" Type="http://schemas.openxmlformats.org/officeDocument/2006/relationships/diagramLayout" Target="../diagrams/layout14.xml"/><Relationship Id="rId4" Type="http://schemas.openxmlformats.org/officeDocument/2006/relationships/diagramData" Target="../diagrams/data13.xml"/><Relationship Id="rId9" Type="http://schemas.openxmlformats.org/officeDocument/2006/relationships/diagramData" Target="../diagrams/data14.xml"/><Relationship Id="rId14" Type="http://schemas.openxmlformats.org/officeDocument/2006/relationships/image" Target="../media/image11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diagramData" Target="../diagrams/data15.xml"/><Relationship Id="rId7" Type="http://schemas.microsoft.com/office/2007/relationships/diagramDrawing" Target="../diagrams/drawing15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15.xml"/><Relationship Id="rId5" Type="http://schemas.openxmlformats.org/officeDocument/2006/relationships/diagramQuickStyle" Target="../diagrams/quickStyle15.xml"/><Relationship Id="rId4" Type="http://schemas.openxmlformats.org/officeDocument/2006/relationships/diagramLayout" Target="../diagrams/layout15.xml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6.xml"/><Relationship Id="rId3" Type="http://schemas.openxmlformats.org/officeDocument/2006/relationships/image" Target="../media/image28.jpeg"/><Relationship Id="rId7" Type="http://schemas.openxmlformats.org/officeDocument/2006/relationships/diagramColors" Target="../diagrams/colors16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6.xml"/><Relationship Id="rId5" Type="http://schemas.openxmlformats.org/officeDocument/2006/relationships/diagramLayout" Target="../diagrams/layout16.xml"/><Relationship Id="rId4" Type="http://schemas.openxmlformats.org/officeDocument/2006/relationships/diagramData" Target="../diagrams/data1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7.xml"/><Relationship Id="rId13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diagramLayout" Target="../diagrams/layout17.xml"/><Relationship Id="rId12" Type="http://schemas.openxmlformats.org/officeDocument/2006/relationships/image" Target="../media/image33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8.xml"/><Relationship Id="rId6" Type="http://schemas.openxmlformats.org/officeDocument/2006/relationships/diagramData" Target="../diagrams/data17.xml"/><Relationship Id="rId11" Type="http://schemas.openxmlformats.org/officeDocument/2006/relationships/image" Target="../media/image32.png"/><Relationship Id="rId5" Type="http://schemas.openxmlformats.org/officeDocument/2006/relationships/image" Target="../media/image31.png"/><Relationship Id="rId10" Type="http://schemas.microsoft.com/office/2007/relationships/diagramDrawing" Target="../diagrams/drawing17.xml"/><Relationship Id="rId4" Type="http://schemas.openxmlformats.org/officeDocument/2006/relationships/image" Target="../media/image30.png"/><Relationship Id="rId9" Type="http://schemas.openxmlformats.org/officeDocument/2006/relationships/diagramColors" Target="../diagrams/colors17.xml"/></Relationships>
</file>

<file path=ppt/slides/_rels/slide1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8.xml"/><Relationship Id="rId13" Type="http://schemas.microsoft.com/office/2007/relationships/diagramDrawing" Target="../diagrams/drawing19.xml"/><Relationship Id="rId3" Type="http://schemas.openxmlformats.org/officeDocument/2006/relationships/image" Target="../media/image35.jpeg"/><Relationship Id="rId7" Type="http://schemas.openxmlformats.org/officeDocument/2006/relationships/diagramColors" Target="../diagrams/colors18.xml"/><Relationship Id="rId12" Type="http://schemas.openxmlformats.org/officeDocument/2006/relationships/diagramColors" Target="../diagrams/colors19.xml"/><Relationship Id="rId2" Type="http://schemas.openxmlformats.org/officeDocument/2006/relationships/slideLayout" Target="../slideLayouts/slideLayout8.xml"/><Relationship Id="rId16" Type="http://schemas.openxmlformats.org/officeDocument/2006/relationships/image" Target="../media/image38.png"/><Relationship Id="rId1" Type="http://schemas.openxmlformats.org/officeDocument/2006/relationships/video" Target="file:///C:\Users\A48937014\Desktop\Create%20a%20tenant.mp4" TargetMode="External"/><Relationship Id="rId6" Type="http://schemas.openxmlformats.org/officeDocument/2006/relationships/diagramQuickStyle" Target="../diagrams/quickStyle18.xml"/><Relationship Id="rId11" Type="http://schemas.openxmlformats.org/officeDocument/2006/relationships/diagramQuickStyle" Target="../diagrams/quickStyle19.xml"/><Relationship Id="rId5" Type="http://schemas.openxmlformats.org/officeDocument/2006/relationships/diagramLayout" Target="../diagrams/layout18.xml"/><Relationship Id="rId15" Type="http://schemas.openxmlformats.org/officeDocument/2006/relationships/image" Target="../media/image37.png"/><Relationship Id="rId10" Type="http://schemas.openxmlformats.org/officeDocument/2006/relationships/diagramLayout" Target="../diagrams/layout19.xml"/><Relationship Id="rId4" Type="http://schemas.openxmlformats.org/officeDocument/2006/relationships/diagramData" Target="../diagrams/data18.xml"/><Relationship Id="rId9" Type="http://schemas.openxmlformats.org/officeDocument/2006/relationships/diagramData" Target="../diagrams/data19.xml"/><Relationship Id="rId14" Type="http://schemas.openxmlformats.org/officeDocument/2006/relationships/image" Target="../media/image3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2.vml"/><Relationship Id="rId5" Type="http://schemas.openxmlformats.org/officeDocument/2006/relationships/oleObject" Target="../embeddings/oleObject12.bin"/><Relationship Id="rId4" Type="http://schemas.openxmlformats.org/officeDocument/2006/relationships/image" Target="../media/image39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0.xml"/><Relationship Id="rId13" Type="http://schemas.openxmlformats.org/officeDocument/2006/relationships/diagramColors" Target="../diagrams/colors21.xml"/><Relationship Id="rId3" Type="http://schemas.openxmlformats.org/officeDocument/2006/relationships/notesSlide" Target="../notesSlides/notesSlide16.xml"/><Relationship Id="rId7" Type="http://schemas.openxmlformats.org/officeDocument/2006/relationships/diagramQuickStyle" Target="../diagrams/quickStyle20.xml"/><Relationship Id="rId12" Type="http://schemas.openxmlformats.org/officeDocument/2006/relationships/diagramQuickStyle" Target="../diagrams/quickStyle21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3.vml"/><Relationship Id="rId6" Type="http://schemas.openxmlformats.org/officeDocument/2006/relationships/diagramLayout" Target="../diagrams/layout20.xml"/><Relationship Id="rId11" Type="http://schemas.openxmlformats.org/officeDocument/2006/relationships/diagramLayout" Target="../diagrams/layout21.xml"/><Relationship Id="rId5" Type="http://schemas.openxmlformats.org/officeDocument/2006/relationships/diagramData" Target="../diagrams/data20.xml"/><Relationship Id="rId15" Type="http://schemas.openxmlformats.org/officeDocument/2006/relationships/image" Target="../media/image11.jpeg"/><Relationship Id="rId10" Type="http://schemas.openxmlformats.org/officeDocument/2006/relationships/diagramData" Target="../diagrams/data21.xml"/><Relationship Id="rId4" Type="http://schemas.openxmlformats.org/officeDocument/2006/relationships/oleObject" Target="../embeddings/oleObject13.bin"/><Relationship Id="rId9" Type="http://schemas.microsoft.com/office/2007/relationships/diagramDrawing" Target="../diagrams/drawing20.xml"/><Relationship Id="rId14" Type="http://schemas.microsoft.com/office/2007/relationships/diagramDrawing" Target="../diagrams/drawing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2.xml"/><Relationship Id="rId7" Type="http://schemas.microsoft.com/office/2007/relationships/diagramDrawing" Target="../diagrams/drawing22.xml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22.xml"/><Relationship Id="rId5" Type="http://schemas.openxmlformats.org/officeDocument/2006/relationships/diagramQuickStyle" Target="../diagrams/quickStyle22.xml"/><Relationship Id="rId4" Type="http://schemas.openxmlformats.org/officeDocument/2006/relationships/diagramLayout" Target="../diagrams/layout2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image" Target="../media/image17.jpe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13" Type="http://schemas.openxmlformats.org/officeDocument/2006/relationships/diagramColors" Target="../diagrams/colors4.xml"/><Relationship Id="rId3" Type="http://schemas.openxmlformats.org/officeDocument/2006/relationships/image" Target="../media/image11.jpeg"/><Relationship Id="rId7" Type="http://schemas.openxmlformats.org/officeDocument/2006/relationships/diagramColors" Target="../diagrams/colors3.xml"/><Relationship Id="rId12" Type="http://schemas.openxmlformats.org/officeDocument/2006/relationships/diagramQuickStyle" Target="../diagrams/quickStyle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3.xml"/><Relationship Id="rId11" Type="http://schemas.openxmlformats.org/officeDocument/2006/relationships/diagramLayout" Target="../diagrams/layout4.xml"/><Relationship Id="rId5" Type="http://schemas.openxmlformats.org/officeDocument/2006/relationships/diagramLayout" Target="../diagrams/layout3.xml"/><Relationship Id="rId10" Type="http://schemas.openxmlformats.org/officeDocument/2006/relationships/diagramData" Target="../diagrams/data4.xml"/><Relationship Id="rId4" Type="http://schemas.openxmlformats.org/officeDocument/2006/relationships/diagramData" Target="../diagrams/data3.xml"/><Relationship Id="rId9" Type="http://schemas.openxmlformats.org/officeDocument/2006/relationships/image" Target="../media/image18.jpeg"/><Relationship Id="rId14" Type="http://schemas.microsoft.com/office/2007/relationships/diagramDrawing" Target="../diagrams/drawing4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5.xml"/><Relationship Id="rId13" Type="http://schemas.openxmlformats.org/officeDocument/2006/relationships/diagramColors" Target="../diagrams/colors6.xml"/><Relationship Id="rId3" Type="http://schemas.openxmlformats.org/officeDocument/2006/relationships/image" Target="../media/image11.jpeg"/><Relationship Id="rId7" Type="http://schemas.openxmlformats.org/officeDocument/2006/relationships/diagramColors" Target="../diagrams/colors5.xml"/><Relationship Id="rId12" Type="http://schemas.openxmlformats.org/officeDocument/2006/relationships/diagramQuickStyle" Target="../diagrams/quickStyle6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5.xml"/><Relationship Id="rId11" Type="http://schemas.openxmlformats.org/officeDocument/2006/relationships/diagramLayout" Target="../diagrams/layout6.xml"/><Relationship Id="rId5" Type="http://schemas.openxmlformats.org/officeDocument/2006/relationships/diagramLayout" Target="../diagrams/layout5.xml"/><Relationship Id="rId10" Type="http://schemas.openxmlformats.org/officeDocument/2006/relationships/diagramData" Target="../diagrams/data6.xml"/><Relationship Id="rId4" Type="http://schemas.openxmlformats.org/officeDocument/2006/relationships/diagramData" Target="../diagrams/data5.xml"/><Relationship Id="rId9" Type="http://schemas.openxmlformats.org/officeDocument/2006/relationships/image" Target="../media/image19.jpeg"/><Relationship Id="rId14" Type="http://schemas.microsoft.com/office/2007/relationships/diagramDrawing" Target="../diagrams/drawing6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7.xml"/><Relationship Id="rId13" Type="http://schemas.openxmlformats.org/officeDocument/2006/relationships/diagramColors" Target="../diagrams/colors8.xml"/><Relationship Id="rId3" Type="http://schemas.openxmlformats.org/officeDocument/2006/relationships/image" Target="../media/image11.jpeg"/><Relationship Id="rId7" Type="http://schemas.openxmlformats.org/officeDocument/2006/relationships/diagramColors" Target="../diagrams/colors7.xml"/><Relationship Id="rId12" Type="http://schemas.openxmlformats.org/officeDocument/2006/relationships/diagramQuickStyle" Target="../diagrams/quickStyle8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7.xml"/><Relationship Id="rId11" Type="http://schemas.openxmlformats.org/officeDocument/2006/relationships/diagramLayout" Target="../diagrams/layout8.xml"/><Relationship Id="rId5" Type="http://schemas.openxmlformats.org/officeDocument/2006/relationships/diagramLayout" Target="../diagrams/layout7.xml"/><Relationship Id="rId10" Type="http://schemas.openxmlformats.org/officeDocument/2006/relationships/diagramData" Target="../diagrams/data8.xml"/><Relationship Id="rId4" Type="http://schemas.openxmlformats.org/officeDocument/2006/relationships/diagramData" Target="../diagrams/data7.xml"/><Relationship Id="rId9" Type="http://schemas.openxmlformats.org/officeDocument/2006/relationships/image" Target="../media/image20.jpeg"/><Relationship Id="rId14" Type="http://schemas.microsoft.com/office/2007/relationships/diagramDrawing" Target="../diagrams/drawing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diagramData" Target="../diagrams/data9.xml"/><Relationship Id="rId7" Type="http://schemas.microsoft.com/office/2007/relationships/diagramDrawing" Target="../diagrams/drawing9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Relationship Id="rId6" Type="http://schemas.openxmlformats.org/officeDocument/2006/relationships/diagramColors" Target="../diagrams/colors9.xml"/><Relationship Id="rId5" Type="http://schemas.openxmlformats.org/officeDocument/2006/relationships/diagramQuickStyle" Target="../diagrams/quickStyle9.xml"/><Relationship Id="rId4" Type="http://schemas.openxmlformats.org/officeDocument/2006/relationships/diagramLayout" Target="../diagrams/layout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1.xml"/><Relationship Id="rId13" Type="http://schemas.openxmlformats.org/officeDocument/2006/relationships/image" Target="../media/image11.jpeg"/><Relationship Id="rId3" Type="http://schemas.openxmlformats.org/officeDocument/2006/relationships/diagramData" Target="../diagrams/data10.xml"/><Relationship Id="rId7" Type="http://schemas.microsoft.com/office/2007/relationships/diagramDrawing" Target="../diagrams/drawing10.xml"/><Relationship Id="rId12" Type="http://schemas.microsoft.com/office/2007/relationships/diagramDrawing" Target="../diagrams/drawing1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10.xml"/><Relationship Id="rId11" Type="http://schemas.openxmlformats.org/officeDocument/2006/relationships/diagramColors" Target="../diagrams/colors11.xml"/><Relationship Id="rId5" Type="http://schemas.openxmlformats.org/officeDocument/2006/relationships/diagramQuickStyle" Target="../diagrams/quickStyle10.xml"/><Relationship Id="rId10" Type="http://schemas.openxmlformats.org/officeDocument/2006/relationships/diagramQuickStyle" Target="../diagrams/quickStyle11.xml"/><Relationship Id="rId4" Type="http://schemas.openxmlformats.org/officeDocument/2006/relationships/diagramLayout" Target="../diagrams/layout10.xml"/><Relationship Id="rId9" Type="http://schemas.openxmlformats.org/officeDocument/2006/relationships/diagramLayout" Target="../diagrams/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665058" y="170986"/>
            <a:ext cx="1270550" cy="1008885"/>
          </a:xfrm>
          <a:prstGeom prst="rect">
            <a:avLst/>
          </a:prstGeom>
          <a:noFill/>
        </p:spPr>
      </p:pic>
      <p:pic>
        <p:nvPicPr>
          <p:cNvPr id="18" name="Grafik 17" descr="Zeichnung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376421"/>
            <a:ext cx="9144000" cy="4566307"/>
          </a:xfrm>
          <a:prstGeom prst="rect">
            <a:avLst/>
          </a:prstGeom>
        </p:spPr>
      </p:pic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90" y="1589"/>
          <a:ext cx="1587" cy="1587"/>
        </p:xfrm>
        <a:graphic>
          <a:graphicData uri="http://schemas.openxmlformats.org/presentationml/2006/ole">
            <p:oleObj spid="_x0000_s361474" name="think-cell Slide" r:id="rId6" imgW="360" imgH="360" progId="">
              <p:embed/>
            </p:oleObj>
          </a:graphicData>
        </a:graphic>
      </p:graphicFrame>
      <p:sp>
        <p:nvSpPr>
          <p:cNvPr id="10" name="Untertitel 9"/>
          <p:cNvSpPr>
            <a:spLocks noGrp="1"/>
          </p:cNvSpPr>
          <p:nvPr>
            <p:ph type="subTitle" idx="4294967295"/>
          </p:nvPr>
        </p:nvSpPr>
        <p:spPr>
          <a:xfrm>
            <a:off x="4738709" y="2625121"/>
            <a:ext cx="3124863" cy="854679"/>
          </a:xfrm>
        </p:spPr>
        <p:txBody>
          <a:bodyPr/>
          <a:lstStyle/>
          <a:p>
            <a:pPr algn="ctr"/>
            <a:r>
              <a:rPr lang="de-DE" sz="24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Apprentices starting with</a:t>
            </a:r>
            <a:endParaRPr lang="de-DE" sz="2400" dirty="0">
              <a:solidFill>
                <a:srgbClr val="E2007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1622141"/>
            <a:ext cx="9144000" cy="443198"/>
          </a:xfrm>
        </p:spPr>
        <p:txBody>
          <a:bodyPr/>
          <a:lstStyle/>
          <a:p>
            <a:pPr algn="ctr"/>
            <a:r>
              <a:rPr lang="de-DE" sz="3200" b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„CLOUD KINDERGARTEN“</a:t>
            </a:r>
            <a:endParaRPr lang="de-DE" sz="3200" b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1" descr="\\HE100167e005\a48937014$\Home\Data\Präsentation\Pics\OpenStack_Symbol01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290439" y="3474311"/>
            <a:ext cx="2032711" cy="20757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Grafik 11" descr="20160316_162233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38539" y="2779399"/>
            <a:ext cx="2073497" cy="27706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5" name="Plus 14"/>
          <p:cNvSpPr/>
          <p:nvPr/>
        </p:nvSpPr>
        <p:spPr>
          <a:xfrm>
            <a:off x="4222143" y="4028065"/>
            <a:ext cx="811033" cy="702961"/>
          </a:xfrm>
          <a:prstGeom prst="mathPlus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8" presetClass="emph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Clr clrSpc="rgb">
                                      <p:cBhvr override="childStyle">
                                        <p:cTn id="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animClr clrSpc="rgb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set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anim to="1.5" calcmode="lin" valueType="num">
                                      <p:cBhvr override="childStyle">
                                        <p:cTn id="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fontSize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efaltete Ecke 72"/>
          <p:cNvSpPr/>
          <p:nvPr/>
        </p:nvSpPr>
        <p:spPr>
          <a:xfrm>
            <a:off x="355600" y="4842933"/>
            <a:ext cx="1835150" cy="618067"/>
          </a:xfrm>
          <a:prstGeom prst="foldedCorner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72" name="Gefaltete Ecke 71"/>
          <p:cNvSpPr/>
          <p:nvPr/>
        </p:nvSpPr>
        <p:spPr>
          <a:xfrm>
            <a:off x="355600" y="3598333"/>
            <a:ext cx="1835150" cy="618067"/>
          </a:xfrm>
          <a:prstGeom prst="foldedCorner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71" name="Gefaltete Ecke 70"/>
          <p:cNvSpPr/>
          <p:nvPr/>
        </p:nvSpPr>
        <p:spPr>
          <a:xfrm>
            <a:off x="361950" y="2319867"/>
            <a:ext cx="1835150" cy="618067"/>
          </a:xfrm>
          <a:prstGeom prst="foldedCorner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70" name="Gefaltete Ecke 69"/>
          <p:cNvSpPr/>
          <p:nvPr/>
        </p:nvSpPr>
        <p:spPr>
          <a:xfrm>
            <a:off x="368300" y="1151467"/>
            <a:ext cx="1835150" cy="618067"/>
          </a:xfrm>
          <a:prstGeom prst="foldedCorner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pic>
        <p:nvPicPr>
          <p:cNvPr id="66" name="Picture 1" descr="\\HE100167e005\a48937014$\Home\Data\Präsentation\Pics\OpenStack_Symbol01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380514" y="2320754"/>
            <a:ext cx="1682108" cy="1810953"/>
          </a:xfrm>
          <a:prstGeom prst="rect">
            <a:avLst/>
          </a:prstGeom>
          <a:noFill/>
        </p:spPr>
      </p:pic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2 Experiences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0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7" y="6431565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04.11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Legende mit Linie 2 51"/>
          <p:cNvSpPr/>
          <p:nvPr/>
        </p:nvSpPr>
        <p:spPr>
          <a:xfrm>
            <a:off x="3382216" y="2183635"/>
            <a:ext cx="954834" cy="923632"/>
          </a:xfrm>
          <a:prstGeom prst="borderCallout2">
            <a:avLst>
              <a:gd name="adj1" fmla="val 54497"/>
              <a:gd name="adj2" fmla="val -14458"/>
              <a:gd name="adj3" fmla="val 54833"/>
              <a:gd name="adj4" fmla="val -63851"/>
              <a:gd name="adj5" fmla="val 55421"/>
              <a:gd name="adj6" fmla="val -121027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54" name="Legende mit Linie 2 53"/>
          <p:cNvSpPr/>
          <p:nvPr/>
        </p:nvSpPr>
        <p:spPr>
          <a:xfrm>
            <a:off x="3382216" y="3436701"/>
            <a:ext cx="954834" cy="923632"/>
          </a:xfrm>
          <a:prstGeom prst="borderCallout2">
            <a:avLst>
              <a:gd name="adj1" fmla="val 54497"/>
              <a:gd name="adj2" fmla="val -14458"/>
              <a:gd name="adj3" fmla="val 54833"/>
              <a:gd name="adj4" fmla="val -63851"/>
              <a:gd name="adj5" fmla="val 55421"/>
              <a:gd name="adj6" fmla="val -121027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58" name="Legende mit Linie 2 57"/>
          <p:cNvSpPr/>
          <p:nvPr/>
        </p:nvSpPr>
        <p:spPr>
          <a:xfrm>
            <a:off x="3382216" y="4672835"/>
            <a:ext cx="954834" cy="923632"/>
          </a:xfrm>
          <a:prstGeom prst="borderCallout2">
            <a:avLst>
              <a:gd name="adj1" fmla="val 54497"/>
              <a:gd name="adj2" fmla="val -14458"/>
              <a:gd name="adj3" fmla="val 54833"/>
              <a:gd name="adj4" fmla="val -63851"/>
              <a:gd name="adj5" fmla="val 55421"/>
              <a:gd name="adj6" fmla="val -121027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59" name="Legende mit Linie 2 58"/>
          <p:cNvSpPr/>
          <p:nvPr/>
        </p:nvSpPr>
        <p:spPr>
          <a:xfrm>
            <a:off x="3388566" y="964435"/>
            <a:ext cx="954834" cy="923632"/>
          </a:xfrm>
          <a:prstGeom prst="borderCallout2">
            <a:avLst>
              <a:gd name="adj1" fmla="val 54497"/>
              <a:gd name="adj2" fmla="val -14458"/>
              <a:gd name="adj3" fmla="val 54833"/>
              <a:gd name="adj4" fmla="val -63851"/>
              <a:gd name="adj5" fmla="val 55421"/>
              <a:gd name="adj6" fmla="val -121027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pic>
        <p:nvPicPr>
          <p:cNvPr id="56" name="Picture 4" descr="\\HE100167e005\a48937014$\Home\Data\Präsentation\Pics\planung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454442" y="1010867"/>
            <a:ext cx="827365" cy="826400"/>
          </a:xfrm>
          <a:prstGeom prst="rect">
            <a:avLst/>
          </a:prstGeom>
          <a:noFill/>
        </p:spPr>
      </p:pic>
      <p:pic>
        <p:nvPicPr>
          <p:cNvPr id="60" name="Picture 5" descr="\\HE100167e005\a48937014$\Home\Data\Präsentation\Pics\office anwendungen.png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417028" y="2229104"/>
            <a:ext cx="876387" cy="793496"/>
          </a:xfrm>
          <a:prstGeom prst="rect">
            <a:avLst/>
          </a:prstGeom>
          <a:noFill/>
        </p:spPr>
      </p:pic>
      <p:pic>
        <p:nvPicPr>
          <p:cNvPr id="61" name="Picture 6" descr="\\HE100167e005\a48937014$\Home\Data\Präsentation\Pics\creative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403601" y="3471333"/>
            <a:ext cx="905187" cy="838200"/>
          </a:xfrm>
          <a:prstGeom prst="rect">
            <a:avLst/>
          </a:prstGeom>
          <a:noFill/>
        </p:spPr>
      </p:pic>
      <p:sp>
        <p:nvSpPr>
          <p:cNvPr id="62" name="Textfeld 61"/>
          <p:cNvSpPr txBox="1"/>
          <p:nvPr/>
        </p:nvSpPr>
        <p:spPr>
          <a:xfrm>
            <a:off x="361950" y="1320800"/>
            <a:ext cx="183515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2000" dirty="0" smtClean="0">
                <a:solidFill>
                  <a:schemeClr val="bg1"/>
                </a:solidFill>
              </a:rPr>
              <a:t>Self-Management</a:t>
            </a:r>
          </a:p>
        </p:txBody>
      </p:sp>
      <p:sp>
        <p:nvSpPr>
          <p:cNvPr id="63" name="Textfeld 62"/>
          <p:cNvSpPr txBox="1"/>
          <p:nvPr/>
        </p:nvSpPr>
        <p:spPr>
          <a:xfrm>
            <a:off x="361950" y="2523067"/>
            <a:ext cx="181610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2000" dirty="0" smtClean="0">
                <a:solidFill>
                  <a:schemeClr val="bg1"/>
                </a:solidFill>
              </a:rPr>
              <a:t>Tools To Use</a:t>
            </a:r>
          </a:p>
        </p:txBody>
      </p:sp>
      <p:sp>
        <p:nvSpPr>
          <p:cNvPr id="64" name="Textfeld 63"/>
          <p:cNvSpPr txBox="1"/>
          <p:nvPr/>
        </p:nvSpPr>
        <p:spPr>
          <a:xfrm>
            <a:off x="361950" y="3784600"/>
            <a:ext cx="182245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2000" dirty="0" smtClean="0">
                <a:solidFill>
                  <a:schemeClr val="bg1"/>
                </a:solidFill>
              </a:rPr>
              <a:t>Find Solutions</a:t>
            </a:r>
          </a:p>
        </p:txBody>
      </p:sp>
      <p:sp>
        <p:nvSpPr>
          <p:cNvPr id="65" name="Textfeld 64"/>
          <p:cNvSpPr txBox="1"/>
          <p:nvPr/>
        </p:nvSpPr>
        <p:spPr>
          <a:xfrm>
            <a:off x="361950" y="5020733"/>
            <a:ext cx="182245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2000" dirty="0" smtClean="0">
                <a:solidFill>
                  <a:schemeClr val="bg1"/>
                </a:solidFill>
              </a:rPr>
              <a:t>Discover Talents</a:t>
            </a:r>
          </a:p>
        </p:txBody>
      </p:sp>
      <p:pic>
        <p:nvPicPr>
          <p:cNvPr id="68" name="Picture 3" descr="\\HE100167e005\a48937014$\Home\Data\Präsentation\Pics\Cloud Computing.jpe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676509" y="3291840"/>
            <a:ext cx="1495692" cy="1437199"/>
          </a:xfrm>
          <a:prstGeom prst="rect">
            <a:avLst/>
          </a:prstGeom>
          <a:noFill/>
        </p:spPr>
      </p:pic>
      <p:sp>
        <p:nvSpPr>
          <p:cNvPr id="69" name="Explosion 2 68"/>
          <p:cNvSpPr/>
          <p:nvPr/>
        </p:nvSpPr>
        <p:spPr>
          <a:xfrm rot="21061925">
            <a:off x="4657221" y="561854"/>
            <a:ext cx="2701913" cy="2198640"/>
          </a:xfrm>
          <a:prstGeom prst="irregularSeal2">
            <a:avLst/>
          </a:prstGeom>
          <a:solidFill>
            <a:schemeClr val="tx2"/>
          </a:solidFill>
          <a:ln>
            <a:solidFill>
              <a:schemeClr val="bg1"/>
            </a:solidFill>
          </a:ln>
          <a:effectLst>
            <a:innerShdw blurRad="114300">
              <a:prstClr val="black"/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prstTxWarp prst="textPlain">
              <a:avLst/>
            </a:prstTxWarp>
          </a:bodyPr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Ehh What?! Ahh! That‘s how it works !</a:t>
            </a:r>
          </a:p>
        </p:txBody>
      </p:sp>
      <p:pic>
        <p:nvPicPr>
          <p:cNvPr id="67" name="Picture 2" descr="\\HE100167e005\a48937014$\Home\Data\Präsentation\Pics\TelekomCloud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213324" y="4217067"/>
            <a:ext cx="1875140" cy="1346564"/>
          </a:xfrm>
          <a:prstGeom prst="rect">
            <a:avLst/>
          </a:prstGeom>
          <a:noFill/>
        </p:spPr>
      </p:pic>
      <p:pic>
        <p:nvPicPr>
          <p:cNvPr id="31" name="Grafik 30" descr="creative drawing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422650" y="4707466"/>
            <a:ext cx="869950" cy="848753"/>
          </a:xfrm>
          <a:prstGeom prst="rect">
            <a:avLst/>
          </a:prstGeom>
        </p:spPr>
      </p:pic>
      <p:graphicFrame>
        <p:nvGraphicFramePr>
          <p:cNvPr id="33" name="Diagramm 32"/>
          <p:cNvGraphicFramePr/>
          <p:nvPr/>
        </p:nvGraphicFramePr>
        <p:xfrm>
          <a:off x="1223902" y="5902615"/>
          <a:ext cx="6752027" cy="4214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32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3" y="6426832"/>
            <a:ext cx="373714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29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7665058" y="170986"/>
            <a:ext cx="1270550" cy="100888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3" y="1371372"/>
            <a:ext cx="8490331" cy="553998"/>
          </a:xfrm>
        </p:spPr>
        <p:txBody>
          <a:bodyPr/>
          <a:lstStyle/>
          <a:p>
            <a:r>
              <a:rPr lang="de-DE" sz="4000" b="1" dirty="0" smtClean="0">
                <a:latin typeface="Arial" pitchFamily="34" charset="0"/>
                <a:cs typeface="Arial" pitchFamily="34" charset="0"/>
              </a:rPr>
              <a:t>2.	TelekomCLOUD + OpenStack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CAC0D7-28A0-4EFD-9839-B1F6A5BE2FD3}" type="datetime1">
              <a:rPr lang="de-DE" smtClean="0"/>
              <a:pPr/>
              <a:t>04.11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91" y="6094587"/>
            <a:ext cx="962025" cy="4730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2837434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2.1 Refcard – Overview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Pfeil nach rechts 15"/>
          <p:cNvSpPr/>
          <p:nvPr/>
        </p:nvSpPr>
        <p:spPr>
          <a:xfrm>
            <a:off x="5220922" y="2943923"/>
            <a:ext cx="376022" cy="453483"/>
          </a:xfrm>
          <a:prstGeom prst="right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5607766" y="5280482"/>
            <a:ext cx="295879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1200" dirty="0" smtClean="0">
                <a:latin typeface="Arial" pitchFamily="34" charset="0"/>
                <a:cs typeface="Arial" pitchFamily="34" charset="0"/>
              </a:rPr>
              <a:t>Picture: Refcard Telekom SMB Cloud</a:t>
            </a:r>
          </a:p>
        </p:txBody>
      </p:sp>
      <p:pic>
        <p:nvPicPr>
          <p:cNvPr id="2" name="Picture 1" descr="\\HE100167e005\a48937014$\Home\Data\Präsentation\Pics\Telekom Small Business 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629148" y="1304014"/>
            <a:ext cx="2648160" cy="3840417"/>
          </a:xfrm>
          <a:prstGeom prst="rect">
            <a:avLst/>
          </a:prstGeom>
          <a:noFill/>
        </p:spPr>
      </p:pic>
      <p:sp>
        <p:nvSpPr>
          <p:cNvPr id="18" name="Foliennummernplatzhalt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2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7" y="6431565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04.11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4" name="Diagramm 13"/>
          <p:cNvGraphicFramePr/>
          <p:nvPr/>
        </p:nvGraphicFramePr>
        <p:xfrm>
          <a:off x="78649" y="228146"/>
          <a:ext cx="5183583" cy="59613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12" name="Diagramm 11"/>
          <p:cNvGraphicFramePr/>
          <p:nvPr/>
        </p:nvGraphicFramePr>
        <p:xfrm>
          <a:off x="1223902" y="5902615"/>
          <a:ext cx="6752027" cy="4214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3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3" y="6426832"/>
            <a:ext cx="373714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5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7665058" y="170986"/>
            <a:ext cx="1270550" cy="100888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2.2 Our Deployment – Services We Use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2" name="Tabelle 11"/>
          <p:cNvGraphicFramePr>
            <a:graphicFrameLocks noGrp="1"/>
          </p:cNvGraphicFramePr>
          <p:nvPr/>
        </p:nvGraphicFramePr>
        <p:xfrm>
          <a:off x="845749" y="1226772"/>
          <a:ext cx="7288436" cy="4388361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3426494"/>
                <a:gridCol w="3861942"/>
              </a:tblGrid>
              <a:tr h="448383">
                <a:tc>
                  <a:txBody>
                    <a:bodyPr/>
                    <a:lstStyle/>
                    <a:p>
                      <a:r>
                        <a:rPr lang="de-DE" sz="2000" baseline="0" dirty="0" smtClean="0">
                          <a:latin typeface="Arial" pitchFamily="34" charset="0"/>
                          <a:cs typeface="Arial" pitchFamily="34" charset="0"/>
                        </a:rPr>
                        <a:t>Service Name</a:t>
                      </a:r>
                      <a:endParaRPr lang="de-DE" sz="2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2000" dirty="0" smtClean="0">
                          <a:latin typeface="Arial" pitchFamily="34" charset="0"/>
                          <a:cs typeface="Arial" pitchFamily="34" charset="0"/>
                        </a:rPr>
                        <a:t>Function</a:t>
                      </a:r>
                      <a:endParaRPr lang="de-DE" sz="2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  <a:tr h="448383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de-DE" sz="20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Nova</a:t>
                      </a:r>
                      <a:r>
                        <a:rPr lang="de-DE" sz="20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4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Compute)</a:t>
                      </a:r>
                      <a:endParaRPr lang="de-DE" sz="14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Virtual</a:t>
                      </a:r>
                      <a:r>
                        <a:rPr lang="de-DE" sz="18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Machine Management</a:t>
                      </a:r>
                      <a:endParaRPr lang="de-DE" sz="18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448383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de-DE" sz="20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Neutron</a:t>
                      </a:r>
                      <a:r>
                        <a:rPr lang="de-DE" sz="20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4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Networking)</a:t>
                      </a:r>
                      <a:endParaRPr lang="de-DE" sz="14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Network Management</a:t>
                      </a:r>
                      <a:endParaRPr lang="de-DE" sz="18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448383">
                <a:tc>
                  <a:txBody>
                    <a:bodyPr/>
                    <a:lstStyle/>
                    <a:p>
                      <a:r>
                        <a:rPr lang="de-DE" sz="20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Cinder</a:t>
                      </a:r>
                      <a:r>
                        <a:rPr lang="de-DE" sz="20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4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Block Storage)</a:t>
                      </a:r>
                      <a:endParaRPr lang="de-DE" sz="14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Storage</a:t>
                      </a:r>
                      <a:r>
                        <a:rPr lang="de-DE" sz="18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Resource Management</a:t>
                      </a:r>
                      <a:endParaRPr lang="de-DE" sz="18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448383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0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Keystone </a:t>
                      </a:r>
                      <a:r>
                        <a:rPr lang="de-DE" sz="14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Identity Service)</a:t>
                      </a:r>
                      <a:endParaRPr lang="de-DE" sz="1400" kern="1200" dirty="0" smtClean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Identity Management</a:t>
                      </a:r>
                      <a:endParaRPr lang="de-DE" sz="18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448383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0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Glance</a:t>
                      </a:r>
                      <a:r>
                        <a:rPr lang="de-DE" sz="20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4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Image Service)</a:t>
                      </a:r>
                      <a:endParaRPr lang="de-DE" sz="1400" kern="1200" dirty="0" smtClean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Image Management</a:t>
                      </a:r>
                      <a:endParaRPr lang="de-DE" sz="18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585589">
                <a:tc>
                  <a:txBody>
                    <a:bodyPr/>
                    <a:lstStyle/>
                    <a:p>
                      <a:r>
                        <a:rPr lang="de-DE" sz="20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RabbitMQ</a:t>
                      </a:r>
                      <a:r>
                        <a:rPr lang="de-DE" sz="2000" kern="12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4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Message Oriented Middleware)</a:t>
                      </a:r>
                      <a:endParaRPr lang="de-DE" sz="14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Communication Management</a:t>
                      </a:r>
                      <a:endParaRPr lang="de-DE" sz="18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614869">
                <a:tc>
                  <a:txBody>
                    <a:bodyPr/>
                    <a:lstStyle/>
                    <a:p>
                      <a:r>
                        <a:rPr lang="de-DE" sz="2000" dirty="0" smtClean="0">
                          <a:latin typeface="Arial" pitchFamily="34" charset="0"/>
                          <a:cs typeface="Arial" pitchFamily="34" charset="0"/>
                        </a:rPr>
                        <a:t>Razor </a:t>
                      </a:r>
                      <a:r>
                        <a:rPr lang="de-DE" sz="1400" dirty="0" smtClean="0">
                          <a:latin typeface="Arial" pitchFamily="34" charset="0"/>
                          <a:cs typeface="Arial" pitchFamily="34" charset="0"/>
                        </a:rPr>
                        <a:t>(Bare-Metal Provisioning)</a:t>
                      </a:r>
                      <a:endParaRPr lang="de-DE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rgbClr val="6CAFD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dirty="0" smtClean="0">
                          <a:latin typeface="Arial" pitchFamily="34" charset="0"/>
                          <a:cs typeface="Arial" pitchFamily="34" charset="0"/>
                        </a:rPr>
                        <a:t>Process Of Installing An Operating</a:t>
                      </a:r>
                      <a:r>
                        <a:rPr lang="de-DE" sz="1800" baseline="0" dirty="0" smtClean="0">
                          <a:latin typeface="Arial" pitchFamily="34" charset="0"/>
                          <a:cs typeface="Arial" pitchFamily="34" charset="0"/>
                        </a:rPr>
                        <a:t> System</a:t>
                      </a:r>
                      <a:endParaRPr lang="de-DE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rgbClr val="6CAFDC"/>
                    </a:solidFill>
                  </a:tcPr>
                </a:tc>
              </a:tr>
              <a:tr h="448383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000" kern="1200" dirty="0" smtClean="0">
                          <a:latin typeface="Arial" pitchFamily="34" charset="0"/>
                          <a:cs typeface="Arial" pitchFamily="34" charset="0"/>
                        </a:rPr>
                        <a:t>Ceph S3 </a:t>
                      </a:r>
                      <a:r>
                        <a:rPr lang="de-DE" sz="1400" kern="1200" dirty="0" smtClean="0">
                          <a:latin typeface="Arial" pitchFamily="34" charset="0"/>
                          <a:cs typeface="Arial" pitchFamily="34" charset="0"/>
                        </a:rPr>
                        <a:t>(Object Storage)</a:t>
                      </a:r>
                      <a:endParaRPr lang="de-DE" sz="1400" kern="1200" dirty="0" smtClean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solidFill>
                      <a:srgbClr val="6CAFD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dirty="0" smtClean="0">
                          <a:latin typeface="Arial" pitchFamily="34" charset="0"/>
                          <a:cs typeface="Arial" pitchFamily="34" charset="0"/>
                        </a:rPr>
                        <a:t>Storage Resource Management</a:t>
                      </a:r>
                      <a:endParaRPr lang="de-DE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rgbClr val="6CAFDC"/>
                    </a:solidFill>
                  </a:tcPr>
                </a:tc>
              </a:tr>
            </a:tbl>
          </a:graphicData>
        </a:graphic>
      </p:graphicFrame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3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7" y="6431565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04.11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3" name="Diagramm 12"/>
          <p:cNvGraphicFramePr/>
          <p:nvPr/>
        </p:nvGraphicFramePr>
        <p:xfrm>
          <a:off x="1223902" y="5902615"/>
          <a:ext cx="6752027" cy="4214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3" y="6426832"/>
            <a:ext cx="373714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4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665058" y="170986"/>
            <a:ext cx="1270550" cy="100888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95000"/>
            <a:duotone>
              <a:prstClr val="black"/>
              <a:schemeClr val="tx2">
                <a:tint val="45000"/>
                <a:satMod val="400000"/>
              </a:schemeClr>
            </a:duotone>
            <a:lum/>
          </a:blip>
          <a:srcRect/>
          <a:stretch>
            <a:fillRect l="4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2.2 Our Deployment </a:t>
            </a:r>
            <a:r>
              <a:rPr lang="de-DE" sz="3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–</a:t>
            </a:r>
            <a:r>
              <a:rPr lang="de-DE" sz="32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3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acenter</a:t>
            </a:r>
            <a:endParaRPr lang="de-DE" sz="32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299053" y="1109473"/>
            <a:ext cx="4272948" cy="45679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dirty="0" smtClean="0">
                <a:latin typeface="Arial" pitchFamily="34" charset="0"/>
                <a:cs typeface="Arial" pitchFamily="34" charset="0"/>
              </a:rPr>
              <a:t>brand new datacenter Biere near Magdeburg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dirty="0" smtClean="0">
                <a:latin typeface="Arial" pitchFamily="34" charset="0"/>
                <a:cs typeface="Arial" pitchFamily="34" charset="0"/>
              </a:rPr>
              <a:t>largest cloud datacenter in </a:t>
            </a:r>
            <a:endParaRPr lang="de-DE" dirty="0" smtClean="0">
              <a:latin typeface="Arial" pitchFamily="34" charset="0"/>
              <a:cs typeface="Arial" pitchFamily="34" charset="0"/>
            </a:endParaRP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dirty="0" smtClean="0">
                <a:latin typeface="Arial" pitchFamily="34" charset="0"/>
                <a:cs typeface="Arial" pitchFamily="34" charset="0"/>
              </a:rPr>
              <a:t>	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Germany</a:t>
            </a:r>
            <a:endParaRPr lang="de-DE" dirty="0" smtClean="0">
              <a:latin typeface="Arial" pitchFamily="34" charset="0"/>
              <a:cs typeface="Arial" pitchFamily="34" charset="0"/>
            </a:endParaRPr>
          </a:p>
          <a:p>
            <a:pPr marL="270000" indent="-270000">
              <a:lnSpc>
                <a:spcPct val="15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dirty="0" smtClean="0">
                <a:latin typeface="Arial" pitchFamily="34" charset="0"/>
                <a:cs typeface="Arial" pitchFamily="34" charset="0"/>
              </a:rPr>
              <a:t>40.000 m² area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dirty="0" smtClean="0">
                <a:latin typeface="Arial" pitchFamily="34" charset="0"/>
                <a:cs typeface="Arial" pitchFamily="34" charset="0"/>
              </a:rPr>
              <a:t>high security through complex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dirty="0" smtClean="0">
                <a:latin typeface="Arial" pitchFamily="34" charset="0"/>
                <a:cs typeface="Arial" pitchFamily="34" charset="0"/>
              </a:rPr>
              <a:t>	security systems</a:t>
            </a:r>
          </a:p>
          <a:p>
            <a:pPr marL="270000" indent="-270000">
              <a:lnSpc>
                <a:spcPct val="15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dirty="0" smtClean="0">
                <a:latin typeface="Arial" pitchFamily="34" charset="0"/>
                <a:cs typeface="Arial" pitchFamily="34" charset="0"/>
              </a:rPr>
              <a:t>12 emergency power generators</a:t>
            </a:r>
          </a:p>
          <a:p>
            <a:pPr marL="270000" indent="-270000">
              <a:lnSpc>
                <a:spcPct val="15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dirty="0" smtClean="0">
                <a:latin typeface="Arial" pitchFamily="34" charset="0"/>
                <a:cs typeface="Arial" pitchFamily="34" charset="0"/>
              </a:rPr>
              <a:t>high availability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de-DE" sz="16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	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de-DE" sz="16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	</a:t>
            </a:r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endParaRPr lang="de-DE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de-DE" dirty="0" smtClean="0"/>
          </a:p>
        </p:txBody>
      </p:sp>
      <p:sp>
        <p:nvSpPr>
          <p:cNvPr id="17" name="Pfeil nach rechts 16"/>
          <p:cNvSpPr/>
          <p:nvPr/>
        </p:nvSpPr>
        <p:spPr>
          <a:xfrm>
            <a:off x="223107" y="4779386"/>
            <a:ext cx="307361" cy="337785"/>
          </a:xfrm>
          <a:prstGeom prst="rightArrow">
            <a:avLst/>
          </a:prstGeom>
          <a:solidFill>
            <a:srgbClr val="E200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2"/>
          </p:nvPr>
        </p:nvSpPr>
        <p:spPr>
          <a:xfrm>
            <a:off x="8540752" y="6431565"/>
            <a:ext cx="288925" cy="138499"/>
          </a:xfrm>
        </p:spPr>
        <p:txBody>
          <a:bodyPr/>
          <a:lstStyle/>
          <a:p>
            <a:fld id="{EF856C3B-4879-44CB-8ACD-F9C43CE31EF6}" type="slidenum">
              <a:rPr lang="de-DE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/>
              <a:t>14</a:t>
            </a:fld>
            <a:endParaRPr lang="de-DE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7" y="6431565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/>
              <a:t>04.11.2016</a:t>
            </a:fld>
            <a:endParaRPr lang="de-DE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22" name="Diagramm 21"/>
          <p:cNvGraphicFramePr/>
          <p:nvPr/>
        </p:nvGraphicFramePr>
        <p:xfrm>
          <a:off x="1223902" y="5902615"/>
          <a:ext cx="6752027" cy="4214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1113" y="6426832"/>
            <a:ext cx="373714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</a:t>
            </a:r>
            <a:r>
              <a:rPr lang="en-US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arten–       A. Perri, J. Schäfer, O. Klippel</a:t>
            </a:r>
            <a:endParaRPr lang="de-DE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572493" y="4850295"/>
            <a:ext cx="3737114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r>
              <a:rPr lang="de-DE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we give the resources you need !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2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9" y="1371377"/>
            <a:ext cx="8490331" cy="553998"/>
          </a:xfrm>
        </p:spPr>
        <p:txBody>
          <a:bodyPr/>
          <a:lstStyle/>
          <a:p>
            <a:r>
              <a:rPr lang="de-DE" sz="4000" b="1" dirty="0" smtClean="0">
                <a:latin typeface="Arial" pitchFamily="34" charset="0"/>
                <a:cs typeface="Arial" pitchFamily="34" charset="0"/>
              </a:rPr>
              <a:t>3.	OpenStack In Practic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EA54DA-34EB-4B38-8502-D3E17F325DF5}" type="datetime1">
              <a:rPr lang="de-DE" smtClean="0"/>
              <a:pPr/>
              <a:t>04.11.2016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92" y="6094589"/>
            <a:ext cx="962025" cy="4730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2837434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665058" y="170986"/>
            <a:ext cx="1270550" cy="1008885"/>
          </a:xfrm>
          <a:prstGeom prst="rect">
            <a:avLst/>
          </a:prstGeom>
          <a:noFill/>
        </p:spPr>
      </p:pic>
      <p:sp>
        <p:nvSpPr>
          <p:cNvPr id="18" name="Rechteck 17"/>
          <p:cNvSpPr/>
          <p:nvPr/>
        </p:nvSpPr>
        <p:spPr>
          <a:xfrm>
            <a:off x="593598" y="2037713"/>
            <a:ext cx="1211764" cy="996176"/>
          </a:xfrm>
          <a:prstGeom prst="rect">
            <a:avLst/>
          </a:prstGeom>
          <a:solidFill>
            <a:schemeClr val="tx2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>
                <a:solidFill>
                  <a:schemeClr val="bg1"/>
                </a:solidFill>
                <a:latin typeface="Tele-GroteskHal" pitchFamily="2" charset="0"/>
              </a:rPr>
              <a:t>Developer</a:t>
            </a:r>
            <a:endParaRPr lang="de-DE" sz="2400" dirty="0" smtClean="0">
              <a:solidFill>
                <a:schemeClr val="bg1"/>
              </a:solidFill>
              <a:latin typeface="Tele-GroteskHal" pitchFamily="2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2208625" y="2145625"/>
            <a:ext cx="1128835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smtClean="0"/>
              <a:t>Push Code</a:t>
            </a:r>
            <a:endParaRPr lang="de-DE" dirty="0"/>
          </a:p>
        </p:txBody>
      </p:sp>
      <p:sp>
        <p:nvSpPr>
          <p:cNvPr id="19" name="Rechteck 18"/>
          <p:cNvSpPr/>
          <p:nvPr/>
        </p:nvSpPr>
        <p:spPr>
          <a:xfrm>
            <a:off x="3787873" y="2038332"/>
            <a:ext cx="1211764" cy="996176"/>
          </a:xfrm>
          <a:prstGeom prst="rect">
            <a:avLst/>
          </a:prstGeom>
          <a:solidFill>
            <a:schemeClr val="tx2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>
                <a:solidFill>
                  <a:schemeClr val="bg1"/>
                </a:solidFill>
                <a:latin typeface="Tele-GroteskHal" pitchFamily="2" charset="0"/>
              </a:rPr>
              <a:t>Git</a:t>
            </a:r>
          </a:p>
        </p:txBody>
      </p:sp>
      <p:sp>
        <p:nvSpPr>
          <p:cNvPr id="23" name="Rechteck 22"/>
          <p:cNvSpPr/>
          <p:nvPr/>
        </p:nvSpPr>
        <p:spPr>
          <a:xfrm>
            <a:off x="6758689" y="3873877"/>
            <a:ext cx="1370636" cy="1388337"/>
          </a:xfrm>
          <a:prstGeom prst="rect">
            <a:avLst/>
          </a:prstGeom>
          <a:solidFill>
            <a:schemeClr val="tx2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>
                <a:solidFill>
                  <a:schemeClr val="bg1"/>
                </a:solidFill>
                <a:latin typeface="Tele-GroteskHal" pitchFamily="2" charset="0"/>
              </a:rPr>
              <a:t>Deploy</a:t>
            </a:r>
            <a:endParaRPr lang="de-DE" sz="2400" dirty="0" smtClean="0">
              <a:solidFill>
                <a:schemeClr val="bg1"/>
              </a:solidFill>
              <a:latin typeface="Tele-GroteskHal" pitchFamily="2" charset="0"/>
            </a:endParaRPr>
          </a:p>
        </p:txBody>
      </p:sp>
      <p:pic>
        <p:nvPicPr>
          <p:cNvPr id="24" name="Grafik 23" descr="https://d30y9cdsu7xlg0.cloudfront.net/png/49773-200.pn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65759" y="996097"/>
            <a:ext cx="1061049" cy="1061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Grafik 24" descr="https://upload.wikimedia.org/wikipedia/commons/thumb/1/18/GitLab_Logo.svg/2000px-GitLab_Logo.svg.png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561982" y="1580863"/>
            <a:ext cx="789246" cy="923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Rechteck 28"/>
          <p:cNvSpPr/>
          <p:nvPr/>
        </p:nvSpPr>
        <p:spPr>
          <a:xfrm>
            <a:off x="3388835" y="3925028"/>
            <a:ext cx="2007218" cy="1554697"/>
          </a:xfrm>
          <a:prstGeom prst="rect">
            <a:avLst/>
          </a:prstGeom>
          <a:solidFill>
            <a:schemeClr val="tx2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bg1"/>
              </a:solidFill>
              <a:latin typeface="Tele-GroteskHal" pitchFamily="2" charset="0"/>
            </a:endParaRPr>
          </a:p>
          <a:p>
            <a:pPr algn="ctr"/>
            <a:r>
              <a:rPr lang="de-DE" dirty="0" smtClean="0">
                <a:solidFill>
                  <a:schemeClr val="bg1"/>
                </a:solidFill>
                <a:latin typeface="Tele-GroteskHal" pitchFamily="2" charset="0"/>
              </a:rPr>
              <a:t>GitLab CI/CI Runner</a:t>
            </a:r>
          </a:p>
          <a:p>
            <a:pPr algn="ctr"/>
            <a:endParaRPr lang="de-DE" dirty="0" smtClean="0">
              <a:solidFill>
                <a:schemeClr val="bg1"/>
              </a:solidFill>
            </a:endParaRPr>
          </a:p>
          <a:p>
            <a:pPr algn="r"/>
            <a:r>
              <a:rPr lang="de-DE" dirty="0" smtClean="0">
                <a:solidFill>
                  <a:schemeClr val="bg1"/>
                </a:solidFill>
                <a:latin typeface="Tele-GroteskHal" pitchFamily="2" charset="0"/>
              </a:rPr>
              <a:t>Build &amp; Test</a:t>
            </a:r>
          </a:p>
          <a:p>
            <a:pPr algn="ctr"/>
            <a:endParaRPr lang="de-DE" dirty="0" smtClean="0">
              <a:solidFill>
                <a:schemeClr val="bg1"/>
              </a:solidFill>
            </a:endParaRPr>
          </a:p>
        </p:txBody>
      </p:sp>
      <p:pic>
        <p:nvPicPr>
          <p:cNvPr id="26" name="Grafik 25" descr="\\HE100167e005\a48937014$\Home\Data\runner_logo.png"/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077154" y="4690247"/>
            <a:ext cx="962108" cy="9551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6" name="Form 35"/>
          <p:cNvCxnSpPr>
            <a:endCxn id="18" idx="2"/>
          </p:cNvCxnSpPr>
          <p:nvPr/>
        </p:nvCxnSpPr>
        <p:spPr>
          <a:xfrm rot="10800000">
            <a:off x="1199489" y="3033889"/>
            <a:ext cx="2181919" cy="1494264"/>
          </a:xfrm>
          <a:prstGeom prst="bentConnector2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>
            <a:off x="5396053" y="4569048"/>
            <a:ext cx="1356736" cy="1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mit Pfeil 52"/>
          <p:cNvCxnSpPr>
            <a:stCxn id="18" idx="3"/>
            <a:endCxn id="19" idx="1"/>
          </p:cNvCxnSpPr>
          <p:nvPr/>
        </p:nvCxnSpPr>
        <p:spPr>
          <a:xfrm>
            <a:off x="1805368" y="2535803"/>
            <a:ext cx="1982511" cy="619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>
            <a:stCxn id="19" idx="2"/>
            <a:endCxn id="29" idx="0"/>
          </p:cNvCxnSpPr>
          <p:nvPr/>
        </p:nvCxnSpPr>
        <p:spPr>
          <a:xfrm flipH="1">
            <a:off x="4392445" y="3034509"/>
            <a:ext cx="1311" cy="890519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1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3.1 OpenStack In Practice – CI/CD In Git 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30" name="Diagramm 29"/>
          <p:cNvGraphicFramePr/>
          <p:nvPr/>
        </p:nvGraphicFramePr>
        <p:xfrm>
          <a:off x="1223902" y="5902615"/>
          <a:ext cx="6752027" cy="4214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31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3" y="6426832"/>
            <a:ext cx="373714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33" y="643157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04.11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51" name="Grafik 50" descr="cancel_graphical_256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078540" y="4548571"/>
            <a:ext cx="410989" cy="508460"/>
          </a:xfrm>
          <a:prstGeom prst="rect">
            <a:avLst/>
          </a:prstGeom>
        </p:spPr>
      </p:pic>
      <p:pic>
        <p:nvPicPr>
          <p:cNvPr id="52" name="Grafik 51" descr="confirm_graphical_256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877726" y="4587899"/>
            <a:ext cx="393659" cy="508887"/>
          </a:xfrm>
          <a:prstGeom prst="rect">
            <a:avLst/>
          </a:prstGeom>
        </p:spPr>
      </p:pic>
      <p:pic>
        <p:nvPicPr>
          <p:cNvPr id="54" name="Grafik 53" descr="cloud-upload_graphical_256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275443" y="3082975"/>
            <a:ext cx="1346079" cy="140156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95000"/>
            <a:duotone>
              <a:prstClr val="black"/>
              <a:schemeClr val="tx2">
                <a:tint val="45000"/>
                <a:satMod val="400000"/>
              </a:schemeClr>
            </a:duotone>
            <a:lum contrast="40000"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28025" y="1038174"/>
            <a:ext cx="5259950" cy="276999"/>
          </a:xfrm>
          <a:solidFill>
            <a:srgbClr val="E20074"/>
          </a:solidFill>
        </p:spPr>
        <p:txBody>
          <a:bodyPr/>
          <a:lstStyle/>
          <a:p>
            <a:pPr algn="ctr"/>
            <a:r>
              <a:rPr lang="de-DE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„Creating a Tenant With OpenStack“ </a:t>
            </a:r>
            <a:endParaRPr lang="de-DE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40758" y="6431571"/>
            <a:ext cx="288925" cy="138499"/>
          </a:xfrm>
        </p:spPr>
        <p:txBody>
          <a:bodyPr/>
          <a:lstStyle/>
          <a:p>
            <a:fld id="{EF856C3B-4879-44CB-8ACD-F9C43CE31EF6}" type="slidenum">
              <a:rPr lang="de-DE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/>
              <a:t>17</a:t>
            </a:fld>
            <a:endParaRPr lang="de-DE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8" name="Diagramm 7"/>
          <p:cNvGraphicFramePr/>
          <p:nvPr/>
        </p:nvGraphicFramePr>
        <p:xfrm>
          <a:off x="0" y="1439443"/>
          <a:ext cx="9144000" cy="43812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11" name="Diagramm 10"/>
          <p:cNvGraphicFramePr/>
          <p:nvPr/>
        </p:nvGraphicFramePr>
        <p:xfrm>
          <a:off x="1223902" y="5902615"/>
          <a:ext cx="6752027" cy="4214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9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3" y="6426832"/>
            <a:ext cx="3737149" cy="138499"/>
          </a:xfrm>
        </p:spPr>
        <p:txBody>
          <a:bodyPr/>
          <a:lstStyle/>
          <a:p>
            <a:r>
              <a:rPr lang="en-US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33" y="643157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/>
              <a:t>04.11.2016</a:t>
            </a:fld>
            <a:endParaRPr lang="de-DE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3" name="Grafik 12" descr="videos_graphical_256.pn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637445" y="149451"/>
            <a:ext cx="645950" cy="596222"/>
          </a:xfrm>
          <a:prstGeom prst="rect">
            <a:avLst/>
          </a:prstGeom>
        </p:spPr>
      </p:pic>
      <p:pic>
        <p:nvPicPr>
          <p:cNvPr id="14" name="Grafik 13" descr="play_graphical_256.png"/>
          <p:cNvPicPr>
            <a:picLocks noChangeAspect="1"/>
          </p:cNvPicPr>
          <p:nvPr/>
        </p:nvPicPr>
        <p:blipFill>
          <a:blip r:embed="rId15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4165615" y="2887154"/>
            <a:ext cx="812770" cy="1083693"/>
          </a:xfrm>
          <a:prstGeom prst="rect">
            <a:avLst/>
          </a:prstGeom>
        </p:spPr>
      </p:pic>
      <p:sp>
        <p:nvSpPr>
          <p:cNvPr id="10" name="Titel 9"/>
          <p:cNvSpPr txBox="1">
            <a:spLocks/>
          </p:cNvSpPr>
          <p:nvPr/>
        </p:nvSpPr>
        <p:spPr bwMode="gray">
          <a:xfrm>
            <a:off x="304800" y="333375"/>
            <a:ext cx="8496300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3200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3.2 OpenStack In Practice – Video</a:t>
            </a:r>
            <a:endParaRPr lang="de-DE" sz="3200" dirty="0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pic>
        <p:nvPicPr>
          <p:cNvPr id="15" name="Create a tenant.mp4">
            <a:hlinkClick r:id="" action="ppaction://media"/>
          </p:cNvPr>
          <p:cNvPicPr>
            <a:picLocks noRot="1" noChangeAspect="1"/>
          </p:cNvPicPr>
          <p:nvPr>
            <a:videoFile r:link="rId1"/>
          </p:nvPr>
        </p:nvPicPr>
        <p:blipFill>
          <a:blip r:embed="rId16"/>
          <a:stretch>
            <a:fillRect/>
          </a:stretch>
        </p:blipFill>
        <p:spPr>
          <a:xfrm>
            <a:off x="914399" y="1439186"/>
            <a:ext cx="7331103" cy="436526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1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"/>
                  </p:tgtEl>
                </p:cond>
              </p:nextCondLst>
            </p:seq>
            <p:video fullScrn="1">
              <p:cMediaNode>
                <p:cTn id="7" fill="hold" display="0">
                  <p:stCondLst>
                    <p:cond delay="indefinite"/>
                  </p:stCondLst>
                  <p:endCondLst>
                    <p:cond evt="onNext" delay="0">
                      <p:tgtEl>
                        <p:sldTgt/>
                      </p:tgtEl>
                    </p:cond>
                    <p:cond evt="onPrev" delay="0">
                      <p:tgtEl>
                        <p:sldTgt/>
                      </p:tgtEl>
                    </p:cond>
                  </p:endCondLst>
                </p:cTn>
                <p:tgtEl>
                  <p:spTgt spid="15"/>
                </p:tgtEl>
              </p:cMediaNode>
            </p:video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alphaModFix amt="4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91" y="1589"/>
          <a:ext cx="1587" cy="1587"/>
        </p:xfrm>
        <a:graphic>
          <a:graphicData uri="http://schemas.openxmlformats.org/presentationml/2006/ole">
            <p:oleObj spid="_x0000_s327682" name="think-cell Slide" r:id="rId5" imgW="360" imgH="360" progId="">
              <p:embed/>
            </p:oleObj>
          </a:graphicData>
        </a:graphic>
      </p:graphicFrame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1773245"/>
            <a:ext cx="9144000" cy="1107996"/>
          </a:xfrm>
        </p:spPr>
        <p:txBody>
          <a:bodyPr/>
          <a:lstStyle/>
          <a:p>
            <a:pPr algn="ctr"/>
            <a:r>
              <a:rPr lang="de-DE" sz="40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Thank You For </a:t>
            </a:r>
            <a:br>
              <a:rPr lang="de-DE" sz="40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de-DE" sz="40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Your Attention !!</a:t>
            </a:r>
            <a:endParaRPr lang="de-DE" sz="40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7686" name="AutoShape 6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44461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327688" name="AutoShape 8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44461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327690" name="AutoShape 10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44461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8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3" y="6426832"/>
            <a:ext cx="373714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33" y="643157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04.11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8" presetClass="emph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Clr clrSpc="rgb">
                                      <p:cBhvr override="childStyle">
                                        <p:cTn id="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animClr clrSpc="rgb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set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anim to="1.5" calcmode="lin" valueType="num">
                                      <p:cBhvr override="childStyle">
                                        <p:cTn id="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fontSize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91" y="1589"/>
          <a:ext cx="1587" cy="1587"/>
        </p:xfrm>
        <a:graphic>
          <a:graphicData uri="http://schemas.openxmlformats.org/presentationml/2006/ole">
            <p:oleObj spid="_x0000_s308226" name="think-cell Slide" r:id="rId4" imgW="360" imgH="360" progId="">
              <p:embed/>
            </p:oleObj>
          </a:graphicData>
        </a:graphic>
      </p:graphicFrame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358697"/>
            <a:ext cx="9144000" cy="443198"/>
          </a:xfrm>
        </p:spPr>
        <p:txBody>
          <a:bodyPr/>
          <a:lstStyle/>
          <a:p>
            <a:pPr algn="ctr"/>
            <a:r>
              <a:rPr lang="de-DE" sz="3200" dirty="0" smtClean="0">
                <a:latin typeface="Arial" pitchFamily="34" charset="0"/>
                <a:cs typeface="Arial" pitchFamily="34" charset="0"/>
              </a:rPr>
              <a:t>Sources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3176" y="1248944"/>
            <a:ext cx="9140824" cy="15645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de-DE" dirty="0" smtClean="0"/>
              <a:t>	</a:t>
            </a:r>
            <a:endParaRPr lang="de-DE" sz="2000" dirty="0" smtClean="0">
              <a:latin typeface="Tele-GroteskHal" pitchFamily="2" charset="0"/>
            </a:endParaRP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endParaRPr lang="de-DE" sz="2000" dirty="0" smtClean="0">
              <a:latin typeface="Tele-GroteskHal" pitchFamily="2" charset="0"/>
            </a:endParaRPr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</p:txBody>
      </p:sp>
      <p:graphicFrame>
        <p:nvGraphicFramePr>
          <p:cNvPr id="13" name="Diagramm 12"/>
          <p:cNvGraphicFramePr/>
          <p:nvPr/>
        </p:nvGraphicFramePr>
        <p:xfrm>
          <a:off x="333955" y="1182604"/>
          <a:ext cx="8253454" cy="45515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9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2" name="Diagramm 11"/>
          <p:cNvGraphicFramePr/>
          <p:nvPr/>
        </p:nvGraphicFramePr>
        <p:xfrm>
          <a:off x="1223902" y="5902615"/>
          <a:ext cx="6752027" cy="4214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6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3" y="6426832"/>
            <a:ext cx="373714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33" y="643157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04.11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7665058" y="170986"/>
            <a:ext cx="1270550" cy="100888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hidden">
          <a:xfrm>
            <a:off x="1757" y="746"/>
            <a:ext cx="9140486" cy="6857255"/>
          </a:xfrm>
          <a:prstGeom prst="rect">
            <a:avLst/>
          </a:prstGeom>
        </p:spPr>
      </p:pic>
      <p:sp>
        <p:nvSpPr>
          <p:cNvPr id="48133" name="Rectangle 5"/>
          <p:cNvSpPr>
            <a:spLocks noGrp="1"/>
          </p:cNvSpPr>
          <p:nvPr>
            <p:ph type="title"/>
          </p:nvPr>
        </p:nvSpPr>
        <p:spPr>
          <a:xfrm>
            <a:off x="326553" y="266693"/>
            <a:ext cx="8490331" cy="443198"/>
          </a:xfrm>
        </p:spPr>
        <p:txBody>
          <a:bodyPr/>
          <a:lstStyle/>
          <a:p>
            <a:r>
              <a:rPr lang="de-DE" sz="3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genda</a:t>
            </a:r>
          </a:p>
        </p:txBody>
      </p:sp>
      <p:graphicFrame>
        <p:nvGraphicFramePr>
          <p:cNvPr id="3" name="Tabelle 2"/>
          <p:cNvGraphicFramePr>
            <a:graphicFrameLocks noGrp="1"/>
          </p:cNvGraphicFramePr>
          <p:nvPr>
            <p:extLst/>
          </p:nvPr>
        </p:nvGraphicFramePr>
        <p:xfrm>
          <a:off x="1723636" y="981286"/>
          <a:ext cx="5424588" cy="4617849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535842"/>
                <a:gridCol w="4888746"/>
              </a:tblGrid>
              <a:tr h="597367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1800" b="1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  </a:t>
                      </a:r>
                      <a:r>
                        <a:rPr lang="de-DE" sz="2000" b="1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de-DE" sz="2000" b="1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36280" marB="3628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000" b="1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Introduction</a:t>
                      </a:r>
                    </a:p>
                  </a:txBody>
                  <a:tcPr marL="72568" marR="72568" marT="36280" marB="3628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284273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endParaRPr lang="de-DE" sz="18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36280" marB="362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18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1.1 Workflow</a:t>
                      </a:r>
                    </a:p>
                  </a:txBody>
                  <a:tcPr marL="72568" marR="72568" marT="36280" marB="362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284273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endParaRPr lang="de-DE" sz="18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36280" marB="362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18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1.2 Experiences</a:t>
                      </a:r>
                    </a:p>
                  </a:txBody>
                  <a:tcPr marL="72568" marR="72568" marT="36280" marB="362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597367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1800" b="1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  </a:t>
                      </a:r>
                      <a:r>
                        <a:rPr lang="de-DE" sz="2000" b="1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lang="de-DE" sz="2000" b="1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36280" marB="362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000" b="1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TelekomCLOUD</a:t>
                      </a:r>
                      <a:r>
                        <a:rPr lang="de-DE" sz="2000" b="1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+ OpenStack</a:t>
                      </a:r>
                      <a:endParaRPr lang="de-DE" sz="2000" b="1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36280" marB="362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284273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endParaRPr lang="de-DE" sz="18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36280" marB="362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18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.1 Refcard Overview</a:t>
                      </a:r>
                    </a:p>
                  </a:txBody>
                  <a:tcPr marL="72568" marR="72568" marT="36280" marB="362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284273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endParaRPr lang="de-DE" sz="18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36280" marB="362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18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.2 Our Deployment</a:t>
                      </a:r>
                    </a:p>
                  </a:txBody>
                  <a:tcPr marL="72568" marR="72568" marT="36280" marB="362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630716">
                <a:tc>
                  <a:txBody>
                    <a:bodyPr/>
                    <a:lstStyle/>
                    <a:p>
                      <a:pPr marL="0" indent="0" algn="l" defTabSz="457200" rtl="0" eaLnBrk="1" latinLnBrk="0" hangingPunct="1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000" b="1" kern="12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  3</a:t>
                      </a:r>
                      <a:endParaRPr lang="de-DE" sz="2000" b="1" kern="120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2568" marR="72568" marT="36280" marB="362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 defTabSz="457200" rtl="0" eaLnBrk="1" latinLnBrk="0" hangingPunct="1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000" b="1" kern="12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OpenStack In Practice</a:t>
                      </a:r>
                    </a:p>
                  </a:txBody>
                  <a:tcPr marL="72568" marR="72568" marT="36280" marB="362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284273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endParaRPr lang="de-DE" sz="18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36280" marB="362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18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3.1 CI / CD in</a:t>
                      </a:r>
                      <a:r>
                        <a:rPr lang="de-DE" sz="180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Git</a:t>
                      </a:r>
                      <a:endParaRPr lang="de-DE" sz="180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36280" marB="362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501907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endParaRPr lang="de-DE" sz="18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36280" marB="362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18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3.2 </a:t>
                      </a:r>
                      <a:r>
                        <a:rPr lang="de-DE" sz="1800" kern="12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Video „Creating a tenant with OpenStack“</a:t>
                      </a:r>
                    </a:p>
                  </a:txBody>
                  <a:tcPr marL="72568" marR="72568" marT="36280" marB="362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597367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1800" b="1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  </a:t>
                      </a:r>
                      <a:r>
                        <a:rPr lang="de-DE" sz="2000" b="1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endParaRPr lang="de-DE" sz="2000" b="1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36280" marB="362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000" b="1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Q &amp; A</a:t>
                      </a:r>
                    </a:p>
                  </a:txBody>
                  <a:tcPr marL="72568" marR="72568" marT="36280" marB="362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</a:tbl>
          </a:graphicData>
        </a:graphic>
      </p:graphicFrame>
      <p:pic>
        <p:nvPicPr>
          <p:cNvPr id="362497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71691" y="6094587"/>
            <a:ext cx="962025" cy="4730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8724926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3" y="1371372"/>
            <a:ext cx="8490331" cy="553998"/>
          </a:xfrm>
        </p:spPr>
        <p:txBody>
          <a:bodyPr/>
          <a:lstStyle/>
          <a:p>
            <a:r>
              <a:rPr lang="de-DE" sz="4000" b="1" dirty="0" smtClean="0">
                <a:latin typeface="Arial" pitchFamily="34" charset="0"/>
                <a:cs typeface="Arial" pitchFamily="34" charset="0"/>
              </a:rPr>
              <a:t>4.	Questions &amp; Answers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A1AD7-90B3-47D7-BDAD-951EBC8E25BC}" type="datetime1">
              <a:rPr lang="de-DE" smtClean="0"/>
              <a:pPr/>
              <a:t>04.11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91" y="6094587"/>
            <a:ext cx="962025" cy="4730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2837434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3FF9DF-EEDF-42AD-BDFB-DE3D95DE5D64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21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itel 9"/>
          <p:cNvSpPr txBox="1">
            <a:spLocks/>
          </p:cNvSpPr>
          <p:nvPr/>
        </p:nvSpPr>
        <p:spPr>
          <a:xfrm>
            <a:off x="304800" y="333375"/>
            <a:ext cx="8496300" cy="590931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3200" dirty="0" smtClean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rPr>
              <a:t>Contact</a:t>
            </a: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pic>
        <p:nvPicPr>
          <p:cNvPr id="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665058" y="170986"/>
            <a:ext cx="1270550" cy="1008885"/>
          </a:xfrm>
          <a:prstGeom prst="rect">
            <a:avLst/>
          </a:prstGeom>
          <a:noFill/>
        </p:spPr>
      </p:pic>
      <p:sp>
        <p:nvSpPr>
          <p:cNvPr id="10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3" y="6426832"/>
            <a:ext cx="373714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33" y="643157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04.11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6" name="Diagramm 15"/>
          <p:cNvGraphicFramePr/>
          <p:nvPr/>
        </p:nvGraphicFramePr>
        <p:xfrm>
          <a:off x="479812" y="1171891"/>
          <a:ext cx="8003460" cy="48139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3" y="1371372"/>
            <a:ext cx="8490331" cy="553998"/>
          </a:xfrm>
        </p:spPr>
        <p:txBody>
          <a:bodyPr/>
          <a:lstStyle/>
          <a:p>
            <a:r>
              <a:rPr lang="de-DE" sz="4000" b="1" dirty="0" smtClean="0">
                <a:latin typeface="Arial" pitchFamily="34" charset="0"/>
                <a:cs typeface="Arial" pitchFamily="34" charset="0"/>
              </a:rPr>
              <a:t>1.	Introductio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2DF56-F3D1-445D-AF0D-4CE07C1FAC3B}" type="datetime1">
              <a:rPr lang="de-DE" smtClean="0"/>
              <a:pPr/>
              <a:t>04.11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91" y="6094587"/>
            <a:ext cx="962025" cy="4730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2837434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665058" y="170986"/>
            <a:ext cx="1270550" cy="1008885"/>
          </a:xfrm>
          <a:prstGeom prst="rect">
            <a:avLst/>
          </a:prstGeom>
          <a:noFill/>
        </p:spPr>
      </p:pic>
      <p:sp>
        <p:nvSpPr>
          <p:cNvPr id="11" name="Titel 9"/>
          <p:cNvSpPr txBox="1">
            <a:spLocks/>
          </p:cNvSpPr>
          <p:nvPr/>
        </p:nvSpPr>
        <p:spPr>
          <a:xfrm>
            <a:off x="304800" y="333375"/>
            <a:ext cx="8496300" cy="5869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1.</a:t>
            </a:r>
            <a:r>
              <a:rPr lang="de-DE" sz="3200" dirty="0" smtClean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rPr>
              <a:t> Introduction – Frank Klöker</a:t>
            </a: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graphicFrame>
        <p:nvGraphicFramePr>
          <p:cNvPr id="13" name="Diagramm 12"/>
          <p:cNvGraphicFramePr/>
          <p:nvPr/>
        </p:nvGraphicFramePr>
        <p:xfrm>
          <a:off x="1223902" y="5902615"/>
          <a:ext cx="6752027" cy="4214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8" name="Datumsplatzhalter 1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04.11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4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3" y="6426832"/>
            <a:ext cx="373714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2" name="Diagramm 11"/>
          <p:cNvGraphicFramePr/>
          <p:nvPr/>
        </p:nvGraphicFramePr>
        <p:xfrm>
          <a:off x="349406" y="1048214"/>
          <a:ext cx="7184070" cy="43241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pic>
        <p:nvPicPr>
          <p:cNvPr id="21" name="Grafik 20" descr="FKl.jp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185468">
            <a:off x="6392112" y="1104785"/>
            <a:ext cx="1451487" cy="224073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665058" y="170986"/>
            <a:ext cx="1270550" cy="1008885"/>
          </a:xfrm>
          <a:prstGeom prst="rect">
            <a:avLst/>
          </a:prstGeom>
          <a:noFill/>
        </p:spPr>
      </p:pic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 Introduction – Oliver Klippel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9" name="Diagramm 8"/>
          <p:cNvGraphicFramePr/>
          <p:nvPr/>
        </p:nvGraphicFramePr>
        <p:xfrm>
          <a:off x="349406" y="1048214"/>
          <a:ext cx="7184070" cy="43241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5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4" name="Picture 3" descr="\\HE100167e005\a48937014$\Home\Data\Präsentation\Pics\OliverKlippel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 rot="195879">
            <a:off x="6320513" y="1120320"/>
            <a:ext cx="1665924" cy="201614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9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7" y="6431565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04.11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2" name="Diagramm 11"/>
          <p:cNvGraphicFramePr/>
          <p:nvPr/>
        </p:nvGraphicFramePr>
        <p:xfrm>
          <a:off x="1223902" y="5902615"/>
          <a:ext cx="6752027" cy="4214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1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3" y="6426832"/>
            <a:ext cx="373714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665058" y="170986"/>
            <a:ext cx="1270550" cy="1008885"/>
          </a:xfrm>
          <a:prstGeom prst="rect">
            <a:avLst/>
          </a:prstGeom>
          <a:noFill/>
        </p:spPr>
      </p:pic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 Introduction – Janika Schäfer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9" name="Diagramm 8"/>
          <p:cNvGraphicFramePr/>
          <p:nvPr/>
        </p:nvGraphicFramePr>
        <p:xfrm>
          <a:off x="349405" y="1048213"/>
          <a:ext cx="7178173" cy="43477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8" name="Picture 2" descr="\\HE100167e005\a48937014$\Home\Data\Präsentation\Pics\IMG_20160902_095258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 rot="231618">
            <a:off x="6335252" y="1127409"/>
            <a:ext cx="1422385" cy="204606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9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7" y="6431565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04.11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2" name="Diagramm 11"/>
          <p:cNvGraphicFramePr/>
          <p:nvPr/>
        </p:nvGraphicFramePr>
        <p:xfrm>
          <a:off x="1223902" y="5902615"/>
          <a:ext cx="6752027" cy="4214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1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3" y="6426832"/>
            <a:ext cx="373714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665058" y="170986"/>
            <a:ext cx="1270550" cy="1008885"/>
          </a:xfrm>
          <a:prstGeom prst="rect">
            <a:avLst/>
          </a:prstGeom>
          <a:noFill/>
        </p:spPr>
      </p:pic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 Introduction – Adriano Perri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Datumsplatzhalter 1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04.11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7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9" name="Diagramm 8"/>
          <p:cNvGraphicFramePr/>
          <p:nvPr/>
        </p:nvGraphicFramePr>
        <p:xfrm>
          <a:off x="349405" y="1048215"/>
          <a:ext cx="7184072" cy="43477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354305" name="Picture 1" descr="\\HE100167e005\a48937014$\Home\Data\Präsentation\Pics\profile-image-display.jspa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 rot="162481">
            <a:off x="6304743" y="1144838"/>
            <a:ext cx="1656801" cy="207481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12" name="Diagramm 11"/>
          <p:cNvGraphicFramePr/>
          <p:nvPr/>
        </p:nvGraphicFramePr>
        <p:xfrm>
          <a:off x="1223902" y="5902615"/>
          <a:ext cx="6752027" cy="4214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1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3" y="6426832"/>
            <a:ext cx="373714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723" name="Rectangle 2"/>
          <p:cNvSpPr>
            <a:spLocks noGrp="1" noChangeArrowheads="1"/>
          </p:cNvSpPr>
          <p:nvPr>
            <p:ph type="title"/>
          </p:nvPr>
        </p:nvSpPr>
        <p:spPr>
          <a:xfrm>
            <a:off x="326553" y="266693"/>
            <a:ext cx="8490331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1 Workflow – A. Perri</a:t>
            </a:r>
          </a:p>
        </p:txBody>
      </p:sp>
      <p:grpSp>
        <p:nvGrpSpPr>
          <p:cNvPr id="2" name="Gruppieren 20"/>
          <p:cNvGrpSpPr/>
          <p:nvPr/>
        </p:nvGrpSpPr>
        <p:grpSpPr>
          <a:xfrm>
            <a:off x="260850" y="4528349"/>
            <a:ext cx="4199832" cy="816315"/>
            <a:chOff x="181548" y="4645342"/>
            <a:chExt cx="4419394" cy="900024"/>
          </a:xfrm>
        </p:grpSpPr>
        <p:sp>
          <p:nvSpPr>
            <p:cNvPr id="23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24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45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Get an Overview</a:t>
              </a:r>
              <a:endParaRPr lang="de-DE" altLang="de-DE" sz="145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understand the task/topic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clear up questions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get inspired by other refcards</a:t>
              </a:r>
            </a:p>
          </p:txBody>
        </p:sp>
        <p:sp>
          <p:nvSpPr>
            <p:cNvPr id="29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400" dirty="0">
                  <a:solidFill>
                    <a:srgbClr val="FFFFFF"/>
                  </a:solidFill>
                  <a:latin typeface="Arial" pitchFamily="34" charset="0"/>
                  <a:ea typeface="Arial Unicode MS"/>
                  <a:cs typeface="Arial" pitchFamily="34" charset="0"/>
                </a:rPr>
                <a:t>1</a:t>
              </a:r>
            </a:p>
          </p:txBody>
        </p:sp>
      </p:grpSp>
      <p:grpSp>
        <p:nvGrpSpPr>
          <p:cNvPr id="3" name="Gruppieren 44"/>
          <p:cNvGrpSpPr/>
          <p:nvPr/>
        </p:nvGrpSpPr>
        <p:grpSpPr>
          <a:xfrm>
            <a:off x="1799689" y="3445554"/>
            <a:ext cx="4155838" cy="816315"/>
            <a:chOff x="181548" y="4645342"/>
            <a:chExt cx="4419394" cy="900024"/>
          </a:xfrm>
        </p:grpSpPr>
        <p:sp>
          <p:nvSpPr>
            <p:cNvPr id="46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47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6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Conception</a:t>
              </a:r>
              <a:endParaRPr lang="de-DE" altLang="de-DE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8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what is important ?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what is asked for ?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time management</a:t>
              </a:r>
              <a:endParaRPr lang="de-DE" sz="105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9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400" dirty="0" smtClean="0">
                  <a:solidFill>
                    <a:srgbClr val="FFFFFF"/>
                  </a:solidFill>
                  <a:latin typeface="Arial" pitchFamily="34" charset="0"/>
                  <a:ea typeface="Arial Unicode MS"/>
                  <a:cs typeface="Arial" pitchFamily="34" charset="0"/>
                </a:rPr>
                <a:t>2</a:t>
              </a:r>
              <a:endParaRPr lang="de-DE" sz="1400" dirty="0">
                <a:solidFill>
                  <a:srgbClr val="FFFFFF"/>
                </a:solidFill>
                <a:latin typeface="Arial" pitchFamily="34" charset="0"/>
                <a:ea typeface="Arial Unicode MS"/>
                <a:cs typeface="Arial" pitchFamily="34" charset="0"/>
              </a:endParaRPr>
            </a:p>
          </p:txBody>
        </p:sp>
      </p:grpSp>
      <p:grpSp>
        <p:nvGrpSpPr>
          <p:cNvPr id="4" name="Gruppieren 49"/>
          <p:cNvGrpSpPr/>
          <p:nvPr/>
        </p:nvGrpSpPr>
        <p:grpSpPr>
          <a:xfrm>
            <a:off x="3338528" y="2362763"/>
            <a:ext cx="4278822" cy="816315"/>
            <a:chOff x="181548" y="4645342"/>
            <a:chExt cx="4419394" cy="900024"/>
          </a:xfrm>
        </p:grpSpPr>
        <p:sp>
          <p:nvSpPr>
            <p:cNvPr id="51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53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6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Documentation</a:t>
              </a:r>
              <a:endParaRPr lang="de-DE" altLang="de-DE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4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gather information unfiltered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screen information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organize them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endParaRPr lang="de-DE" sz="1300" dirty="0">
                <a:latin typeface="Tele-GroteskNor" pitchFamily="2" charset="0"/>
                <a:cs typeface="Arial Unicode MS"/>
              </a:endParaRPr>
            </a:p>
          </p:txBody>
        </p:sp>
        <p:sp>
          <p:nvSpPr>
            <p:cNvPr id="55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400" dirty="0" smtClean="0">
                  <a:solidFill>
                    <a:srgbClr val="FFFFFF"/>
                  </a:solidFill>
                  <a:latin typeface="Arial" pitchFamily="34" charset="0"/>
                  <a:ea typeface="Arial Unicode MS"/>
                  <a:cs typeface="Arial" pitchFamily="34" charset="0"/>
                </a:rPr>
                <a:t>3</a:t>
              </a:r>
              <a:endParaRPr lang="de-DE" sz="1400" dirty="0">
                <a:solidFill>
                  <a:srgbClr val="FFFFFF"/>
                </a:solidFill>
                <a:latin typeface="Arial" pitchFamily="34" charset="0"/>
                <a:ea typeface="Arial Unicode MS"/>
                <a:cs typeface="Arial" pitchFamily="34" charset="0"/>
              </a:endParaRPr>
            </a:p>
          </p:txBody>
        </p:sp>
      </p:grpSp>
      <p:grpSp>
        <p:nvGrpSpPr>
          <p:cNvPr id="5" name="Gruppieren 55"/>
          <p:cNvGrpSpPr/>
          <p:nvPr/>
        </p:nvGrpSpPr>
        <p:grpSpPr>
          <a:xfrm>
            <a:off x="4877365" y="1279971"/>
            <a:ext cx="4266635" cy="816315"/>
            <a:chOff x="181548" y="4645342"/>
            <a:chExt cx="4419394" cy="900024"/>
          </a:xfrm>
        </p:grpSpPr>
        <p:sp>
          <p:nvSpPr>
            <p:cNvPr id="58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59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6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Create Refcard</a:t>
              </a:r>
              <a:endParaRPr lang="de-DE" altLang="de-DE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0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writing down (structured)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comply with the corporate design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use supporting illustrations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endParaRPr lang="de-DE" sz="1300" dirty="0">
                <a:latin typeface="Tele-GroteskNor" pitchFamily="2" charset="0"/>
                <a:cs typeface="Arial Unicode MS"/>
              </a:endParaRPr>
            </a:p>
          </p:txBody>
        </p:sp>
        <p:sp>
          <p:nvSpPr>
            <p:cNvPr id="61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400" dirty="0" smtClean="0">
                  <a:solidFill>
                    <a:srgbClr val="FFFFFF"/>
                  </a:solidFill>
                  <a:latin typeface="Arial" pitchFamily="34" charset="0"/>
                  <a:ea typeface="Arial Unicode MS"/>
                  <a:cs typeface="Arial" pitchFamily="34" charset="0"/>
                </a:rPr>
                <a:t>4</a:t>
              </a:r>
              <a:endParaRPr lang="de-DE" sz="1400" dirty="0">
                <a:solidFill>
                  <a:srgbClr val="FFFFFF"/>
                </a:solidFill>
                <a:latin typeface="Arial" pitchFamily="34" charset="0"/>
                <a:ea typeface="Arial Unicode MS"/>
                <a:cs typeface="Arial" pitchFamily="34" charset="0"/>
              </a:endParaRPr>
            </a:p>
          </p:txBody>
        </p:sp>
      </p:grpSp>
      <p:sp>
        <p:nvSpPr>
          <p:cNvPr id="25" name="Foliennummernplatzhalter 2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8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7" y="6431565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04.11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31" name="Diagramm 30"/>
          <p:cNvGraphicFramePr/>
          <p:nvPr/>
        </p:nvGraphicFramePr>
        <p:xfrm>
          <a:off x="1223902" y="5902615"/>
          <a:ext cx="6752027" cy="4214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0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3" y="6426832"/>
            <a:ext cx="373714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32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665058" y="170986"/>
            <a:ext cx="1270550" cy="100888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846090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4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4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4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4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4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4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1 Workflow – J. Schäfer And O. Klippel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4" name="Diagramm 13"/>
          <p:cNvGraphicFramePr/>
          <p:nvPr/>
        </p:nvGraphicFramePr>
        <p:xfrm>
          <a:off x="1200884" y="1327734"/>
          <a:ext cx="6751446" cy="39816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3" name="Foliennummernplatzhalt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9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6" name="Diagramm 15"/>
          <p:cNvGraphicFramePr/>
          <p:nvPr/>
        </p:nvGraphicFramePr>
        <p:xfrm>
          <a:off x="1223902" y="5902615"/>
          <a:ext cx="6752027" cy="4214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2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3" y="6426832"/>
            <a:ext cx="373714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33" y="643157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04.11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7665058" y="170986"/>
            <a:ext cx="1270550" cy="100888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02lICoakKlNvnu9koGm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vFUl.HeU.ODiM5lGiNu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X5v7yBs0yZmkUNG09R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o5VaWD6UCX6CwEccqN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xigrFBIk62JofbC6qh0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sbZT_spU6_E6ZvDzhPt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cFzc6NJU.uNsjx08YQ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SQmn5SC0670Esdl5YCX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l86bAKNkuIN9FReMdM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Ni7GKOMEqqjmw02iGVg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X5v7yBs0yZmkUNG09R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xigrFBIk62JofbC6qh0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sbZT_spU6_E6ZvDzhPt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xyv5yaMEmr45gqOtRem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5mm2m2Q0.YkUkrPvdjn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OXNuRzOUSFtRFKPfcWv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IXNec9CQE.lu4sBAr6zk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bq8MdRfEWID4GqyIjvz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IO_BqzvE2iRr9MX5uTR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q_7YG62kK7j6GQRtDw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QQDPWfBUmvnvMMSlsrN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02lICoakKlNvnu9koGm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s7oB6VDUy4CICx53VxU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JUOz8yekixwxp73VtJ7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hsuHP7_UGMc7dQRBZT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9O1W7_FEqhRiOAUYGE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KJVt6.uU.oUbj.zZM9R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FtmRvuaUuc5RujGSi4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IVTN.hwU.pk_IfiG.3u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6QSeyiCEK9nM05fMeDM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50Z0Z9T0KZiKgAFJP7i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XBx4pw_keK8RSGiHnH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nI3I7e2UiVG3_HdrPkLw"/>
</p:tagLst>
</file>

<file path=ppt/theme/theme1.xml><?xml version="1.0" encoding="utf-8"?>
<a:theme xmlns:a="http://schemas.openxmlformats.org/drawingml/2006/main" name="T_PPT_Master_2007_4_3_D">
  <a:themeElements>
    <a:clrScheme name="Benutzerdefiniert 13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7C7C7C"/>
      </a:accent3>
      <a:accent4>
        <a:srgbClr val="6C6C6C"/>
      </a:accent4>
      <a:accent5>
        <a:srgbClr val="4B4B4B"/>
      </a:accent5>
      <a:accent6>
        <a:srgbClr val="A4A4A4"/>
      </a:accent6>
      <a:hlink>
        <a:srgbClr val="E20074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4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00A1DE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5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_PPT_Master_2007_4_3_D</Template>
  <TotalTime>0</TotalTime>
  <Words>1283</Words>
  <Application>Microsoft Office PowerPoint</Application>
  <PresentationFormat>Bildschirmpräsentation (4:3)</PresentationFormat>
  <Paragraphs>356</Paragraphs>
  <Slides>21</Slides>
  <Notes>17</Notes>
  <HiddenSlides>0</HiddenSlides>
  <MMClips>1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23" baseType="lpstr">
      <vt:lpstr>T_PPT_Master_2007_4_3_D</vt:lpstr>
      <vt:lpstr>think-cell Slide</vt:lpstr>
      <vt:lpstr>„CLOUD KINDERGARTEN“</vt:lpstr>
      <vt:lpstr>Agenda</vt:lpstr>
      <vt:lpstr>1. Introduction</vt:lpstr>
      <vt:lpstr>Folie 4</vt:lpstr>
      <vt:lpstr>1. Introduction – Oliver Klippel</vt:lpstr>
      <vt:lpstr>1. Introduction – Janika Schäfer</vt:lpstr>
      <vt:lpstr>1. Introduction – Adriano Perri</vt:lpstr>
      <vt:lpstr>1.1 Workflow – A. Perri</vt:lpstr>
      <vt:lpstr>1.1 Workflow – J. Schäfer And O. Klippel</vt:lpstr>
      <vt:lpstr>1.2 Experiences</vt:lpstr>
      <vt:lpstr>2. TelekomCLOUD + OpenStack</vt:lpstr>
      <vt:lpstr>2.1 Refcard – Overview</vt:lpstr>
      <vt:lpstr>2.2 Our Deployment – Services We Use</vt:lpstr>
      <vt:lpstr>2.2 Our Deployment – Datacenter</vt:lpstr>
      <vt:lpstr>3. OpenStack In Practice</vt:lpstr>
      <vt:lpstr>3.1 OpenStack In Practice – CI/CD In Git </vt:lpstr>
      <vt:lpstr>„Creating a Tenant With OpenStack“ </vt:lpstr>
      <vt:lpstr>Thank You For  Your Attention !!</vt:lpstr>
      <vt:lpstr>Sources</vt:lpstr>
      <vt:lpstr>4. Questions &amp; Answers</vt:lpstr>
      <vt:lpstr>Folie 21</vt:lpstr>
    </vt:vector>
  </TitlesOfParts>
  <Company>Deutsche Telekom A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Computing</dc:title>
  <dc:creator>Adriano Perri</dc:creator>
  <cp:lastModifiedBy>Adriano Perri</cp:lastModifiedBy>
  <cp:revision>778</cp:revision>
  <cp:lastPrinted>2012-09-04T09:22:48Z</cp:lastPrinted>
  <dcterms:created xsi:type="dcterms:W3CDTF">2016-04-21T06:54:03Z</dcterms:created>
  <dcterms:modified xsi:type="dcterms:W3CDTF">2016-11-04T09:36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